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2"/>
  </p:notesMasterIdLst>
  <p:sldIdLst>
    <p:sldId id="260" r:id="rId2"/>
    <p:sldId id="256" r:id="rId3"/>
    <p:sldId id="262" r:id="rId4"/>
    <p:sldId id="265" r:id="rId5"/>
    <p:sldId id="263" r:id="rId6"/>
    <p:sldId id="266" r:id="rId7"/>
    <p:sldId id="264" r:id="rId8"/>
    <p:sldId id="259" r:id="rId9"/>
    <p:sldId id="261" r:id="rId10"/>
    <p:sldId id="267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4" autoAdjust="0"/>
    <p:restoredTop sz="94660"/>
  </p:normalViewPr>
  <p:slideViewPr>
    <p:cSldViewPr>
      <p:cViewPr varScale="1">
        <p:scale>
          <a:sx n="88" d="100"/>
          <a:sy n="88" d="100"/>
        </p:scale>
        <p:origin x="-215" y="-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14852B-33C9-4D5F-96B2-D63DC557612B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B3E1EEF6-BF59-4E12-A601-AC3D77DCF757}">
      <dgm:prSet phldrT="[Text]"/>
      <dgm:spPr/>
      <dgm:t>
        <a:bodyPr/>
        <a:lstStyle/>
        <a:p>
          <a:r>
            <a:rPr lang="en-IN" dirty="0" smtClean="0"/>
            <a:t>Planning</a:t>
          </a:r>
          <a:endParaRPr lang="en-IN" dirty="0"/>
        </a:p>
      </dgm:t>
    </dgm:pt>
    <dgm:pt modelId="{4DC25B61-7A8F-424D-84EB-99BA5BFBFC6C}" type="parTrans" cxnId="{EB7AF66C-410E-48AE-B940-3127BE88836D}">
      <dgm:prSet/>
      <dgm:spPr/>
      <dgm:t>
        <a:bodyPr/>
        <a:lstStyle/>
        <a:p>
          <a:endParaRPr lang="en-IN"/>
        </a:p>
      </dgm:t>
    </dgm:pt>
    <dgm:pt modelId="{518404A0-50B9-4852-9D67-8147A195EB76}" type="sibTrans" cxnId="{EB7AF66C-410E-48AE-B940-3127BE88836D}">
      <dgm:prSet/>
      <dgm:spPr/>
      <dgm:t>
        <a:bodyPr/>
        <a:lstStyle/>
        <a:p>
          <a:endParaRPr lang="en-IN"/>
        </a:p>
      </dgm:t>
    </dgm:pt>
    <dgm:pt modelId="{8C69E043-4359-4D83-BE33-B46E23243395}">
      <dgm:prSet phldrT="[Text]"/>
      <dgm:spPr/>
      <dgm:t>
        <a:bodyPr/>
        <a:lstStyle/>
        <a:p>
          <a:r>
            <a:rPr lang="en-IN" dirty="0" smtClean="0"/>
            <a:t>Design</a:t>
          </a:r>
          <a:endParaRPr lang="en-IN" dirty="0"/>
        </a:p>
      </dgm:t>
    </dgm:pt>
    <dgm:pt modelId="{508EFB99-BAF9-4661-872C-3C233AB38AA0}" type="parTrans" cxnId="{9E3FC05F-3B65-4A62-BBD2-A0DCE573FD25}">
      <dgm:prSet/>
      <dgm:spPr/>
      <dgm:t>
        <a:bodyPr/>
        <a:lstStyle/>
        <a:p>
          <a:endParaRPr lang="en-IN"/>
        </a:p>
      </dgm:t>
    </dgm:pt>
    <dgm:pt modelId="{E26C1895-DBD1-4C58-BEA0-CE4E0F47E802}" type="sibTrans" cxnId="{9E3FC05F-3B65-4A62-BBD2-A0DCE573FD25}">
      <dgm:prSet/>
      <dgm:spPr/>
      <dgm:t>
        <a:bodyPr/>
        <a:lstStyle/>
        <a:p>
          <a:endParaRPr lang="en-IN"/>
        </a:p>
      </dgm:t>
    </dgm:pt>
    <dgm:pt modelId="{7FA613C6-DF15-41DF-8532-DB6D5A398C76}">
      <dgm:prSet phldrT="[Text]"/>
      <dgm:spPr/>
      <dgm:t>
        <a:bodyPr/>
        <a:lstStyle/>
        <a:p>
          <a:r>
            <a:rPr lang="en-IN" dirty="0" smtClean="0"/>
            <a:t>Development</a:t>
          </a:r>
          <a:endParaRPr lang="en-IN" dirty="0"/>
        </a:p>
      </dgm:t>
    </dgm:pt>
    <dgm:pt modelId="{ADCAF10C-1E68-49E4-B84B-3BE07CF6F401}" type="parTrans" cxnId="{9F6E9007-67B2-43A1-8512-25B5B8DC563A}">
      <dgm:prSet/>
      <dgm:spPr/>
      <dgm:t>
        <a:bodyPr/>
        <a:lstStyle/>
        <a:p>
          <a:endParaRPr lang="en-IN"/>
        </a:p>
      </dgm:t>
    </dgm:pt>
    <dgm:pt modelId="{24690236-798D-41DE-876F-DB601833864F}" type="sibTrans" cxnId="{9F6E9007-67B2-43A1-8512-25B5B8DC563A}">
      <dgm:prSet/>
      <dgm:spPr/>
      <dgm:t>
        <a:bodyPr/>
        <a:lstStyle/>
        <a:p>
          <a:endParaRPr lang="en-IN"/>
        </a:p>
      </dgm:t>
    </dgm:pt>
    <dgm:pt modelId="{6CDED784-80BB-49A2-B558-ED2D90CC278E}">
      <dgm:prSet phldrT="[Text]"/>
      <dgm:spPr/>
      <dgm:t>
        <a:bodyPr/>
        <a:lstStyle/>
        <a:p>
          <a:r>
            <a:rPr lang="en-IN" dirty="0" smtClean="0"/>
            <a:t>Release</a:t>
          </a:r>
          <a:endParaRPr lang="en-IN" dirty="0"/>
        </a:p>
      </dgm:t>
    </dgm:pt>
    <dgm:pt modelId="{1AE2242F-C97C-4D38-B7EA-ABB842985EF7}" type="parTrans" cxnId="{6AE0B204-204D-47DD-8FF7-6EB610852D64}">
      <dgm:prSet/>
      <dgm:spPr/>
      <dgm:t>
        <a:bodyPr/>
        <a:lstStyle/>
        <a:p>
          <a:endParaRPr lang="en-IN"/>
        </a:p>
      </dgm:t>
    </dgm:pt>
    <dgm:pt modelId="{A6EEE3FD-F4DD-404F-942A-A17F1D37E818}" type="sibTrans" cxnId="{6AE0B204-204D-47DD-8FF7-6EB610852D64}">
      <dgm:prSet/>
      <dgm:spPr/>
      <dgm:t>
        <a:bodyPr/>
        <a:lstStyle/>
        <a:p>
          <a:endParaRPr lang="en-IN"/>
        </a:p>
      </dgm:t>
    </dgm:pt>
    <dgm:pt modelId="{89BC20FE-51F5-47C8-9CAD-8EFD0CEAF334}">
      <dgm:prSet phldrT="[Text]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noFill/>
        <a:ln>
          <a:noFill/>
        </a:ln>
      </dgm:spPr>
      <dgm:t>
        <a:bodyPr/>
        <a:lstStyle/>
        <a:p>
          <a:r>
            <a:rPr lang="en-IN" dirty="0" smtClean="0"/>
            <a:t>Requirements’  Gathering</a:t>
          </a:r>
          <a:endParaRPr lang="en-IN" dirty="0"/>
        </a:p>
      </dgm:t>
    </dgm:pt>
    <dgm:pt modelId="{2209B0E4-C7EB-4B06-A1C8-23262E0A026B}" type="parTrans" cxnId="{53195AED-96E7-42C2-B9FD-96F310967BFE}">
      <dgm:prSet/>
      <dgm:spPr/>
      <dgm:t>
        <a:bodyPr/>
        <a:lstStyle/>
        <a:p>
          <a:endParaRPr lang="en-IN"/>
        </a:p>
      </dgm:t>
    </dgm:pt>
    <dgm:pt modelId="{1D7531C4-A5B5-4FC6-9966-3AABF69BFFBE}" type="sibTrans" cxnId="{53195AED-96E7-42C2-B9FD-96F310967BFE}">
      <dgm:prSet/>
      <dgm:spPr/>
      <dgm:t>
        <a:bodyPr/>
        <a:lstStyle/>
        <a:p>
          <a:endParaRPr lang="en-IN"/>
        </a:p>
      </dgm:t>
    </dgm:pt>
    <dgm:pt modelId="{E25A7040-DFF0-43DE-AA28-80F711327A9D}">
      <dgm:prSet phldrT="[Text]"/>
      <dgm:spPr/>
      <dgm:t>
        <a:bodyPr/>
        <a:lstStyle/>
        <a:p>
          <a:r>
            <a:rPr lang="en-IN" dirty="0" smtClean="0"/>
            <a:t>Track, Monitor</a:t>
          </a:r>
          <a:endParaRPr lang="en-IN" dirty="0"/>
        </a:p>
      </dgm:t>
    </dgm:pt>
    <dgm:pt modelId="{515B37C5-33C8-40F9-8F9C-3981180D4EDB}" type="parTrans" cxnId="{64402FCC-7D6C-4D10-9354-6C96026B9E2A}">
      <dgm:prSet/>
      <dgm:spPr/>
      <dgm:t>
        <a:bodyPr/>
        <a:lstStyle/>
        <a:p>
          <a:endParaRPr lang="en-IN"/>
        </a:p>
      </dgm:t>
    </dgm:pt>
    <dgm:pt modelId="{E21F495C-8FB7-4754-B2C7-178BC988345F}" type="sibTrans" cxnId="{64402FCC-7D6C-4D10-9354-6C96026B9E2A}">
      <dgm:prSet/>
      <dgm:spPr/>
      <dgm:t>
        <a:bodyPr/>
        <a:lstStyle/>
        <a:p>
          <a:endParaRPr lang="en-IN"/>
        </a:p>
      </dgm:t>
    </dgm:pt>
    <dgm:pt modelId="{1EA0BD69-7332-48BC-9D65-88825F106779}" type="pres">
      <dgm:prSet presAssocID="{6914852B-33C9-4D5F-96B2-D63DC557612B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AC33DB15-0C54-4976-B463-8C1E6F7004F3}" type="pres">
      <dgm:prSet presAssocID="{B3E1EEF6-BF59-4E12-A601-AC3D77DCF757}" presName="dummy" presStyleCnt="0"/>
      <dgm:spPr/>
    </dgm:pt>
    <dgm:pt modelId="{7A8B87BA-0853-42BA-9EFD-1A55891BB8D0}" type="pres">
      <dgm:prSet presAssocID="{B3E1EEF6-BF59-4E12-A601-AC3D77DCF757}" presName="node" presStyleLbl="revTx" presStyleIdx="0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563F8EB-A8E7-40DA-A6BE-612E29AA495D}" type="pres">
      <dgm:prSet presAssocID="{518404A0-50B9-4852-9D67-8147A195EB76}" presName="sibTrans" presStyleLbl="node1" presStyleIdx="0" presStyleCnt="6"/>
      <dgm:spPr/>
      <dgm:t>
        <a:bodyPr/>
        <a:lstStyle/>
        <a:p>
          <a:endParaRPr lang="en-IN"/>
        </a:p>
      </dgm:t>
    </dgm:pt>
    <dgm:pt modelId="{02C3ADCF-1919-456D-BAB5-8AEAA265D5E2}" type="pres">
      <dgm:prSet presAssocID="{8C69E043-4359-4D83-BE33-B46E23243395}" presName="dummy" presStyleCnt="0"/>
      <dgm:spPr/>
    </dgm:pt>
    <dgm:pt modelId="{C7011640-692E-4B20-B4F0-4504C980867D}" type="pres">
      <dgm:prSet presAssocID="{8C69E043-4359-4D83-BE33-B46E23243395}" presName="node" presStyleLbl="revTx" presStyleIdx="1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A7E3E8F-8A1E-4605-BA6F-18C72CD0A334}" type="pres">
      <dgm:prSet presAssocID="{E26C1895-DBD1-4C58-BEA0-CE4E0F47E802}" presName="sibTrans" presStyleLbl="node1" presStyleIdx="1" presStyleCnt="6"/>
      <dgm:spPr/>
      <dgm:t>
        <a:bodyPr/>
        <a:lstStyle/>
        <a:p>
          <a:endParaRPr lang="en-IN"/>
        </a:p>
      </dgm:t>
    </dgm:pt>
    <dgm:pt modelId="{0F0D9B4B-0E50-4AB4-8B83-B858EFB0AADE}" type="pres">
      <dgm:prSet presAssocID="{7FA613C6-DF15-41DF-8532-DB6D5A398C76}" presName="dummy" presStyleCnt="0"/>
      <dgm:spPr/>
    </dgm:pt>
    <dgm:pt modelId="{DE873B4F-89F7-492D-9025-6B993B43AB2E}" type="pres">
      <dgm:prSet presAssocID="{7FA613C6-DF15-41DF-8532-DB6D5A398C76}" presName="node" presStyleLbl="revTx" presStyleIdx="2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8B805AB-F5D1-4ED9-B4DD-2E2FB4E85C38}" type="pres">
      <dgm:prSet presAssocID="{24690236-798D-41DE-876F-DB601833864F}" presName="sibTrans" presStyleLbl="node1" presStyleIdx="2" presStyleCnt="6" custAng="0"/>
      <dgm:spPr/>
      <dgm:t>
        <a:bodyPr/>
        <a:lstStyle/>
        <a:p>
          <a:endParaRPr lang="en-IN"/>
        </a:p>
      </dgm:t>
    </dgm:pt>
    <dgm:pt modelId="{1E14A643-FA0D-49E0-B0B4-DAFA534FB0FD}" type="pres">
      <dgm:prSet presAssocID="{6CDED784-80BB-49A2-B558-ED2D90CC278E}" presName="dummy" presStyleCnt="0"/>
      <dgm:spPr/>
    </dgm:pt>
    <dgm:pt modelId="{7EF2A53E-AE77-47FD-A3B9-2877679371F4}" type="pres">
      <dgm:prSet presAssocID="{6CDED784-80BB-49A2-B558-ED2D90CC278E}" presName="node" presStyleLbl="revTx" presStyleIdx="3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C2DC5F6-AD08-41F9-9AD1-E14A993E02FF}" type="pres">
      <dgm:prSet presAssocID="{A6EEE3FD-F4DD-404F-942A-A17F1D37E818}" presName="sibTrans" presStyleLbl="node1" presStyleIdx="3" presStyleCnt="6"/>
      <dgm:spPr/>
      <dgm:t>
        <a:bodyPr/>
        <a:lstStyle/>
        <a:p>
          <a:endParaRPr lang="en-IN"/>
        </a:p>
      </dgm:t>
    </dgm:pt>
    <dgm:pt modelId="{8E04E72C-106F-4786-8D1C-61DABCDD0CA0}" type="pres">
      <dgm:prSet presAssocID="{E25A7040-DFF0-43DE-AA28-80F711327A9D}" presName="dummy" presStyleCnt="0"/>
      <dgm:spPr/>
    </dgm:pt>
    <dgm:pt modelId="{2031455C-0296-47C1-BE5D-2AAA4C0C49AE}" type="pres">
      <dgm:prSet presAssocID="{E25A7040-DFF0-43DE-AA28-80F711327A9D}" presName="node" presStyleLbl="revTx" presStyleIdx="4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0046F77-4E61-497A-8CB8-1D2854A1D068}" type="pres">
      <dgm:prSet presAssocID="{E21F495C-8FB7-4754-B2C7-178BC988345F}" presName="sibTrans" presStyleLbl="node1" presStyleIdx="4" presStyleCnt="6"/>
      <dgm:spPr/>
      <dgm:t>
        <a:bodyPr/>
        <a:lstStyle/>
        <a:p>
          <a:endParaRPr lang="en-IN"/>
        </a:p>
      </dgm:t>
    </dgm:pt>
    <dgm:pt modelId="{B21DC9F4-05A3-42A3-B93C-78DEE8754B5D}" type="pres">
      <dgm:prSet presAssocID="{89BC20FE-51F5-47C8-9CAD-8EFD0CEAF334}" presName="dummy" presStyleCnt="0"/>
      <dgm:spPr/>
    </dgm:pt>
    <dgm:pt modelId="{EBD18136-E878-48EE-89F5-687F7EDA14E0}" type="pres">
      <dgm:prSet presAssocID="{89BC20FE-51F5-47C8-9CAD-8EFD0CEAF334}" presName="node" presStyleLbl="revTx" presStyleIdx="5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D8E8C41-93B9-487C-8385-6BB665096414}" type="pres">
      <dgm:prSet presAssocID="{1D7531C4-A5B5-4FC6-9966-3AABF69BFFBE}" presName="sibTrans" presStyleLbl="node1" presStyleIdx="5" presStyleCnt="6"/>
      <dgm:spPr/>
      <dgm:t>
        <a:bodyPr/>
        <a:lstStyle/>
        <a:p>
          <a:endParaRPr lang="en-IN"/>
        </a:p>
      </dgm:t>
    </dgm:pt>
  </dgm:ptLst>
  <dgm:cxnLst>
    <dgm:cxn modelId="{2FF4B239-DCB7-48D0-92F1-159CA3FB1ACF}" type="presOf" srcId="{B3E1EEF6-BF59-4E12-A601-AC3D77DCF757}" destId="{7A8B87BA-0853-42BA-9EFD-1A55891BB8D0}" srcOrd="0" destOrd="0" presId="urn:microsoft.com/office/officeart/2005/8/layout/cycle1"/>
    <dgm:cxn modelId="{414450EC-1EE5-4183-9FCF-A5F9690D6F9A}" type="presOf" srcId="{1D7531C4-A5B5-4FC6-9966-3AABF69BFFBE}" destId="{ED8E8C41-93B9-487C-8385-6BB665096414}" srcOrd="0" destOrd="0" presId="urn:microsoft.com/office/officeart/2005/8/layout/cycle1"/>
    <dgm:cxn modelId="{5F446962-8F26-452A-800E-78F6B79494E8}" type="presOf" srcId="{8C69E043-4359-4D83-BE33-B46E23243395}" destId="{C7011640-692E-4B20-B4F0-4504C980867D}" srcOrd="0" destOrd="0" presId="urn:microsoft.com/office/officeart/2005/8/layout/cycle1"/>
    <dgm:cxn modelId="{61BFF87C-7670-4B5C-AF63-CAF9D0177BDD}" type="presOf" srcId="{E21F495C-8FB7-4754-B2C7-178BC988345F}" destId="{60046F77-4E61-497A-8CB8-1D2854A1D068}" srcOrd="0" destOrd="0" presId="urn:microsoft.com/office/officeart/2005/8/layout/cycle1"/>
    <dgm:cxn modelId="{9F6E9007-67B2-43A1-8512-25B5B8DC563A}" srcId="{6914852B-33C9-4D5F-96B2-D63DC557612B}" destId="{7FA613C6-DF15-41DF-8532-DB6D5A398C76}" srcOrd="2" destOrd="0" parTransId="{ADCAF10C-1E68-49E4-B84B-3BE07CF6F401}" sibTransId="{24690236-798D-41DE-876F-DB601833864F}"/>
    <dgm:cxn modelId="{84CB837E-118F-4A4C-81F9-51ACA2649C9F}" type="presOf" srcId="{518404A0-50B9-4852-9D67-8147A195EB76}" destId="{0563F8EB-A8E7-40DA-A6BE-612E29AA495D}" srcOrd="0" destOrd="0" presId="urn:microsoft.com/office/officeart/2005/8/layout/cycle1"/>
    <dgm:cxn modelId="{53195AED-96E7-42C2-B9FD-96F310967BFE}" srcId="{6914852B-33C9-4D5F-96B2-D63DC557612B}" destId="{89BC20FE-51F5-47C8-9CAD-8EFD0CEAF334}" srcOrd="5" destOrd="0" parTransId="{2209B0E4-C7EB-4B06-A1C8-23262E0A026B}" sibTransId="{1D7531C4-A5B5-4FC6-9966-3AABF69BFFBE}"/>
    <dgm:cxn modelId="{DD004CA6-BE57-4D7B-8AAB-F501C1CF13B2}" type="presOf" srcId="{6914852B-33C9-4D5F-96B2-D63DC557612B}" destId="{1EA0BD69-7332-48BC-9D65-88825F106779}" srcOrd="0" destOrd="0" presId="urn:microsoft.com/office/officeart/2005/8/layout/cycle1"/>
    <dgm:cxn modelId="{3431E17A-CB47-4DBC-88CC-AD30FC611C4F}" type="presOf" srcId="{24690236-798D-41DE-876F-DB601833864F}" destId="{C8B805AB-F5D1-4ED9-B4DD-2E2FB4E85C38}" srcOrd="0" destOrd="0" presId="urn:microsoft.com/office/officeart/2005/8/layout/cycle1"/>
    <dgm:cxn modelId="{1809FCA3-E57F-40DD-A1B6-44267ADFBE04}" type="presOf" srcId="{7FA613C6-DF15-41DF-8532-DB6D5A398C76}" destId="{DE873B4F-89F7-492D-9025-6B993B43AB2E}" srcOrd="0" destOrd="0" presId="urn:microsoft.com/office/officeart/2005/8/layout/cycle1"/>
    <dgm:cxn modelId="{503B10C8-E6EE-43FD-9883-27EB7C412408}" type="presOf" srcId="{E25A7040-DFF0-43DE-AA28-80F711327A9D}" destId="{2031455C-0296-47C1-BE5D-2AAA4C0C49AE}" srcOrd="0" destOrd="0" presId="urn:microsoft.com/office/officeart/2005/8/layout/cycle1"/>
    <dgm:cxn modelId="{73B93533-503C-48C5-8187-36E31D7A1CCE}" type="presOf" srcId="{6CDED784-80BB-49A2-B558-ED2D90CC278E}" destId="{7EF2A53E-AE77-47FD-A3B9-2877679371F4}" srcOrd="0" destOrd="0" presId="urn:microsoft.com/office/officeart/2005/8/layout/cycle1"/>
    <dgm:cxn modelId="{EB7AF66C-410E-48AE-B940-3127BE88836D}" srcId="{6914852B-33C9-4D5F-96B2-D63DC557612B}" destId="{B3E1EEF6-BF59-4E12-A601-AC3D77DCF757}" srcOrd="0" destOrd="0" parTransId="{4DC25B61-7A8F-424D-84EB-99BA5BFBFC6C}" sibTransId="{518404A0-50B9-4852-9D67-8147A195EB76}"/>
    <dgm:cxn modelId="{9E3FC05F-3B65-4A62-BBD2-A0DCE573FD25}" srcId="{6914852B-33C9-4D5F-96B2-D63DC557612B}" destId="{8C69E043-4359-4D83-BE33-B46E23243395}" srcOrd="1" destOrd="0" parTransId="{508EFB99-BAF9-4661-872C-3C233AB38AA0}" sibTransId="{E26C1895-DBD1-4C58-BEA0-CE4E0F47E802}"/>
    <dgm:cxn modelId="{EC3BBF59-7F5D-46CA-85D3-9D071BFF9E1B}" type="presOf" srcId="{A6EEE3FD-F4DD-404F-942A-A17F1D37E818}" destId="{DC2DC5F6-AD08-41F9-9AD1-E14A993E02FF}" srcOrd="0" destOrd="0" presId="urn:microsoft.com/office/officeart/2005/8/layout/cycle1"/>
    <dgm:cxn modelId="{D7449264-429D-4870-8AA7-534D11EF0F50}" type="presOf" srcId="{E26C1895-DBD1-4C58-BEA0-CE4E0F47E802}" destId="{EA7E3E8F-8A1E-4605-BA6F-18C72CD0A334}" srcOrd="0" destOrd="0" presId="urn:microsoft.com/office/officeart/2005/8/layout/cycle1"/>
    <dgm:cxn modelId="{64402FCC-7D6C-4D10-9354-6C96026B9E2A}" srcId="{6914852B-33C9-4D5F-96B2-D63DC557612B}" destId="{E25A7040-DFF0-43DE-AA28-80F711327A9D}" srcOrd="4" destOrd="0" parTransId="{515B37C5-33C8-40F9-8F9C-3981180D4EDB}" sibTransId="{E21F495C-8FB7-4754-B2C7-178BC988345F}"/>
    <dgm:cxn modelId="{6AE0B204-204D-47DD-8FF7-6EB610852D64}" srcId="{6914852B-33C9-4D5F-96B2-D63DC557612B}" destId="{6CDED784-80BB-49A2-B558-ED2D90CC278E}" srcOrd="3" destOrd="0" parTransId="{1AE2242F-C97C-4D38-B7EA-ABB842985EF7}" sibTransId="{A6EEE3FD-F4DD-404F-942A-A17F1D37E818}"/>
    <dgm:cxn modelId="{491FFF6D-702A-41EC-B6FC-17E14192758F}" type="presOf" srcId="{89BC20FE-51F5-47C8-9CAD-8EFD0CEAF334}" destId="{EBD18136-E878-48EE-89F5-687F7EDA14E0}" srcOrd="0" destOrd="0" presId="urn:microsoft.com/office/officeart/2005/8/layout/cycle1"/>
    <dgm:cxn modelId="{BB08D620-6E26-4C75-B18A-F083F7CF30EF}" type="presParOf" srcId="{1EA0BD69-7332-48BC-9D65-88825F106779}" destId="{AC33DB15-0C54-4976-B463-8C1E6F7004F3}" srcOrd="0" destOrd="0" presId="urn:microsoft.com/office/officeart/2005/8/layout/cycle1"/>
    <dgm:cxn modelId="{4F651A87-32A1-42B8-A424-C5A4EE6B7387}" type="presParOf" srcId="{1EA0BD69-7332-48BC-9D65-88825F106779}" destId="{7A8B87BA-0853-42BA-9EFD-1A55891BB8D0}" srcOrd="1" destOrd="0" presId="urn:microsoft.com/office/officeart/2005/8/layout/cycle1"/>
    <dgm:cxn modelId="{BF9E7111-CEAD-474D-B73A-7582F22F73D3}" type="presParOf" srcId="{1EA0BD69-7332-48BC-9D65-88825F106779}" destId="{0563F8EB-A8E7-40DA-A6BE-612E29AA495D}" srcOrd="2" destOrd="0" presId="urn:microsoft.com/office/officeart/2005/8/layout/cycle1"/>
    <dgm:cxn modelId="{C9685A75-A6C8-42D7-92B8-6CEE4F2A0BA8}" type="presParOf" srcId="{1EA0BD69-7332-48BC-9D65-88825F106779}" destId="{02C3ADCF-1919-456D-BAB5-8AEAA265D5E2}" srcOrd="3" destOrd="0" presId="urn:microsoft.com/office/officeart/2005/8/layout/cycle1"/>
    <dgm:cxn modelId="{4508030A-0C2B-4985-9791-966611F1EF89}" type="presParOf" srcId="{1EA0BD69-7332-48BC-9D65-88825F106779}" destId="{C7011640-692E-4B20-B4F0-4504C980867D}" srcOrd="4" destOrd="0" presId="urn:microsoft.com/office/officeart/2005/8/layout/cycle1"/>
    <dgm:cxn modelId="{B8A09DC2-6B22-488D-ABF8-8B28A171A41A}" type="presParOf" srcId="{1EA0BD69-7332-48BC-9D65-88825F106779}" destId="{EA7E3E8F-8A1E-4605-BA6F-18C72CD0A334}" srcOrd="5" destOrd="0" presId="urn:microsoft.com/office/officeart/2005/8/layout/cycle1"/>
    <dgm:cxn modelId="{1519B8F7-9A7C-44F1-84D9-8D406263AD5C}" type="presParOf" srcId="{1EA0BD69-7332-48BC-9D65-88825F106779}" destId="{0F0D9B4B-0E50-4AB4-8B83-B858EFB0AADE}" srcOrd="6" destOrd="0" presId="urn:microsoft.com/office/officeart/2005/8/layout/cycle1"/>
    <dgm:cxn modelId="{8CAF285E-EABB-46D9-9AFA-EEAFC6C25718}" type="presParOf" srcId="{1EA0BD69-7332-48BC-9D65-88825F106779}" destId="{DE873B4F-89F7-492D-9025-6B993B43AB2E}" srcOrd="7" destOrd="0" presId="urn:microsoft.com/office/officeart/2005/8/layout/cycle1"/>
    <dgm:cxn modelId="{E9703A0B-C922-4C8A-8ECA-CE22955283CF}" type="presParOf" srcId="{1EA0BD69-7332-48BC-9D65-88825F106779}" destId="{C8B805AB-F5D1-4ED9-B4DD-2E2FB4E85C38}" srcOrd="8" destOrd="0" presId="urn:microsoft.com/office/officeart/2005/8/layout/cycle1"/>
    <dgm:cxn modelId="{45453156-BB64-4EAF-BE8A-5096F953D681}" type="presParOf" srcId="{1EA0BD69-7332-48BC-9D65-88825F106779}" destId="{1E14A643-FA0D-49E0-B0B4-DAFA534FB0FD}" srcOrd="9" destOrd="0" presId="urn:microsoft.com/office/officeart/2005/8/layout/cycle1"/>
    <dgm:cxn modelId="{56A39F83-D4ED-4AF1-B491-18B24AE17200}" type="presParOf" srcId="{1EA0BD69-7332-48BC-9D65-88825F106779}" destId="{7EF2A53E-AE77-47FD-A3B9-2877679371F4}" srcOrd="10" destOrd="0" presId="urn:microsoft.com/office/officeart/2005/8/layout/cycle1"/>
    <dgm:cxn modelId="{2B7C5C3E-CCDB-4A19-A020-C073AC280431}" type="presParOf" srcId="{1EA0BD69-7332-48BC-9D65-88825F106779}" destId="{DC2DC5F6-AD08-41F9-9AD1-E14A993E02FF}" srcOrd="11" destOrd="0" presId="urn:microsoft.com/office/officeart/2005/8/layout/cycle1"/>
    <dgm:cxn modelId="{8CA59AF7-DFCB-4F05-A302-2FC1950C23E5}" type="presParOf" srcId="{1EA0BD69-7332-48BC-9D65-88825F106779}" destId="{8E04E72C-106F-4786-8D1C-61DABCDD0CA0}" srcOrd="12" destOrd="0" presId="urn:microsoft.com/office/officeart/2005/8/layout/cycle1"/>
    <dgm:cxn modelId="{EB106A8D-F64E-4DA8-933C-892D0B1C052B}" type="presParOf" srcId="{1EA0BD69-7332-48BC-9D65-88825F106779}" destId="{2031455C-0296-47C1-BE5D-2AAA4C0C49AE}" srcOrd="13" destOrd="0" presId="urn:microsoft.com/office/officeart/2005/8/layout/cycle1"/>
    <dgm:cxn modelId="{EED31355-CFEC-4DC5-A35D-A340B5E0AB51}" type="presParOf" srcId="{1EA0BD69-7332-48BC-9D65-88825F106779}" destId="{60046F77-4E61-497A-8CB8-1D2854A1D068}" srcOrd="14" destOrd="0" presId="urn:microsoft.com/office/officeart/2005/8/layout/cycle1"/>
    <dgm:cxn modelId="{4F70B7C3-5618-44F6-A6C9-862F251D5E24}" type="presParOf" srcId="{1EA0BD69-7332-48BC-9D65-88825F106779}" destId="{B21DC9F4-05A3-42A3-B93C-78DEE8754B5D}" srcOrd="15" destOrd="0" presId="urn:microsoft.com/office/officeart/2005/8/layout/cycle1"/>
    <dgm:cxn modelId="{4AD0E821-8265-44FA-9437-3AE4940297C3}" type="presParOf" srcId="{1EA0BD69-7332-48BC-9D65-88825F106779}" destId="{EBD18136-E878-48EE-89F5-687F7EDA14E0}" srcOrd="16" destOrd="0" presId="urn:microsoft.com/office/officeart/2005/8/layout/cycle1"/>
    <dgm:cxn modelId="{1B1156B7-DF5E-45EA-964D-5A373E117682}" type="presParOf" srcId="{1EA0BD69-7332-48BC-9D65-88825F106779}" destId="{ED8E8C41-93B9-487C-8385-6BB665096414}" srcOrd="17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B87BA-0853-42BA-9EFD-1A55891BB8D0}">
      <dsp:nvSpPr>
        <dsp:cNvPr id="0" name=""/>
        <dsp:cNvSpPr/>
      </dsp:nvSpPr>
      <dsp:spPr>
        <a:xfrm>
          <a:off x="4168068" y="11511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Planning</a:t>
          </a:r>
          <a:endParaRPr lang="en-IN" sz="1300" kern="1200" dirty="0"/>
        </a:p>
      </dsp:txBody>
      <dsp:txXfrm>
        <a:off x="4168068" y="11511"/>
        <a:ext cx="1019888" cy="1019888"/>
      </dsp:txXfrm>
    </dsp:sp>
    <dsp:sp modelId="{0563F8EB-A8E7-40DA-A6BE-612E29AA495D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20572593"/>
            <a:gd name="adj4" fmla="val 18983614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011640-692E-4B20-B4F0-4504C980867D}">
      <dsp:nvSpPr>
        <dsp:cNvPr id="0" name=""/>
        <dsp:cNvSpPr/>
      </dsp:nvSpPr>
      <dsp:spPr>
        <a:xfrm>
          <a:off x="5305857" y="1982219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Design</a:t>
          </a:r>
          <a:endParaRPr lang="en-IN" sz="1300" kern="1200" dirty="0"/>
        </a:p>
      </dsp:txBody>
      <dsp:txXfrm>
        <a:off x="5305857" y="1982219"/>
        <a:ext cx="1019888" cy="1019888"/>
      </dsp:txXfrm>
    </dsp:sp>
    <dsp:sp modelId="{EA7E3E8F-8A1E-4605-BA6F-18C72CD0A334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2365957"/>
            <a:gd name="adj4" fmla="val 776978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873B4F-89F7-492D-9025-6B993B43AB2E}">
      <dsp:nvSpPr>
        <dsp:cNvPr id="0" name=""/>
        <dsp:cNvSpPr/>
      </dsp:nvSpPr>
      <dsp:spPr>
        <a:xfrm>
          <a:off x="4168068" y="3952927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Development</a:t>
          </a:r>
          <a:endParaRPr lang="en-IN" sz="1300" kern="1200" dirty="0"/>
        </a:p>
      </dsp:txBody>
      <dsp:txXfrm>
        <a:off x="4168068" y="3952927"/>
        <a:ext cx="1019888" cy="1019888"/>
      </dsp:txXfrm>
    </dsp:sp>
    <dsp:sp modelId="{C8B805AB-F5D1-4ED9-B4DD-2E2FB4E85C38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6110530"/>
            <a:gd name="adj4" fmla="val 4439041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F2A53E-AE77-47FD-A3B9-2877679371F4}">
      <dsp:nvSpPr>
        <dsp:cNvPr id="0" name=""/>
        <dsp:cNvSpPr/>
      </dsp:nvSpPr>
      <dsp:spPr>
        <a:xfrm>
          <a:off x="1892490" y="3952927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Release</a:t>
          </a:r>
          <a:endParaRPr lang="en-IN" sz="1300" kern="1200" dirty="0"/>
        </a:p>
      </dsp:txBody>
      <dsp:txXfrm>
        <a:off x="1892490" y="3952927"/>
        <a:ext cx="1019888" cy="1019888"/>
      </dsp:txXfrm>
    </dsp:sp>
    <dsp:sp modelId="{DC2DC5F6-AD08-41F9-9AD1-E14A993E02FF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9772593"/>
            <a:gd name="adj4" fmla="val 8183614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31455C-0296-47C1-BE5D-2AAA4C0C49AE}">
      <dsp:nvSpPr>
        <dsp:cNvPr id="0" name=""/>
        <dsp:cNvSpPr/>
      </dsp:nvSpPr>
      <dsp:spPr>
        <a:xfrm>
          <a:off x="754701" y="1982219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Track, Monitor</a:t>
          </a:r>
          <a:endParaRPr lang="en-IN" sz="1300" kern="1200" dirty="0"/>
        </a:p>
      </dsp:txBody>
      <dsp:txXfrm>
        <a:off x="754701" y="1982219"/>
        <a:ext cx="1019888" cy="1019888"/>
      </dsp:txXfrm>
    </dsp:sp>
    <dsp:sp modelId="{60046F77-4E61-497A-8CB8-1D2854A1D068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13165957"/>
            <a:gd name="adj4" fmla="val 11576978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D18136-E878-48EE-89F5-687F7EDA14E0}">
      <dsp:nvSpPr>
        <dsp:cNvPr id="0" name=""/>
        <dsp:cNvSpPr/>
      </dsp:nvSpPr>
      <dsp:spPr>
        <a:xfrm>
          <a:off x="1892490" y="11511"/>
          <a:ext cx="1019888" cy="101988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Requirements’  Gathering</a:t>
          </a:r>
          <a:endParaRPr lang="en-IN" sz="1300" kern="1200" dirty="0"/>
        </a:p>
      </dsp:txBody>
      <dsp:txXfrm>
        <a:off x="1892490" y="11511"/>
        <a:ext cx="1019888" cy="1019888"/>
      </dsp:txXfrm>
    </dsp:sp>
    <dsp:sp modelId="{ED8E8C41-93B9-487C-8385-6BB665096414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16910530"/>
            <a:gd name="adj4" fmla="val 15239041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68029-416A-4543-9264-15657B4D7A02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D873EA-6DBF-42A3-988B-5526AA8EB19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4123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D873EA-6DBF-42A3-988B-5526AA8EB190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7992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D873EA-6DBF-42A3-988B-5526AA8EB190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7992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129044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59388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64093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2"/>
          <p:cNvSpPr>
            <a:spLocks/>
          </p:cNvSpPr>
          <p:nvPr userDrawn="1"/>
        </p:nvSpPr>
        <p:spPr bwMode="gray">
          <a:xfrm>
            <a:off x="-117" y="1"/>
            <a:ext cx="9144117" cy="6841175"/>
          </a:xfrm>
          <a:custGeom>
            <a:avLst/>
            <a:gdLst>
              <a:gd name="connsiteX0" fmla="*/ 1097 w 10000"/>
              <a:gd name="connsiteY0" fmla="*/ 7282 h 10000"/>
              <a:gd name="connsiteX1" fmla="*/ 1097 w 10000"/>
              <a:gd name="connsiteY1" fmla="*/ 7282 h 10000"/>
              <a:gd name="connsiteX2" fmla="*/ 1175 w 10000"/>
              <a:gd name="connsiteY2" fmla="*/ 7190 h 10000"/>
              <a:gd name="connsiteX3" fmla="*/ 1255 w 10000"/>
              <a:gd name="connsiteY3" fmla="*/ 7098 h 10000"/>
              <a:gd name="connsiteX4" fmla="*/ 1333 w 10000"/>
              <a:gd name="connsiteY4" fmla="*/ 7011 h 10000"/>
              <a:gd name="connsiteX5" fmla="*/ 1411 w 10000"/>
              <a:gd name="connsiteY5" fmla="*/ 6930 h 10000"/>
              <a:gd name="connsiteX6" fmla="*/ 1494 w 10000"/>
              <a:gd name="connsiteY6" fmla="*/ 6850 h 10000"/>
              <a:gd name="connsiteX7" fmla="*/ 1572 w 10000"/>
              <a:gd name="connsiteY7" fmla="*/ 6773 h 10000"/>
              <a:gd name="connsiteX8" fmla="*/ 1654 w 10000"/>
              <a:gd name="connsiteY8" fmla="*/ 6699 h 10000"/>
              <a:gd name="connsiteX9" fmla="*/ 1737 w 10000"/>
              <a:gd name="connsiteY9" fmla="*/ 6625 h 10000"/>
              <a:gd name="connsiteX10" fmla="*/ 1822 w 10000"/>
              <a:gd name="connsiteY10" fmla="*/ 6555 h 10000"/>
              <a:gd name="connsiteX11" fmla="*/ 1903 w 10000"/>
              <a:gd name="connsiteY11" fmla="*/ 6491 h 10000"/>
              <a:gd name="connsiteX12" fmla="*/ 2070 w 10000"/>
              <a:gd name="connsiteY12" fmla="*/ 6362 h 10000"/>
              <a:gd name="connsiteX13" fmla="*/ 2243 w 10000"/>
              <a:gd name="connsiteY13" fmla="*/ 6250 h 10000"/>
              <a:gd name="connsiteX14" fmla="*/ 2416 w 10000"/>
              <a:gd name="connsiteY14" fmla="*/ 6138 h 10000"/>
              <a:gd name="connsiteX15" fmla="*/ 2590 w 10000"/>
              <a:gd name="connsiteY15" fmla="*/ 6039 h 10000"/>
              <a:gd name="connsiteX16" fmla="*/ 2770 w 10000"/>
              <a:gd name="connsiteY16" fmla="*/ 5945 h 10000"/>
              <a:gd name="connsiteX17" fmla="*/ 2950 w 10000"/>
              <a:gd name="connsiteY17" fmla="*/ 5856 h 10000"/>
              <a:gd name="connsiteX18" fmla="*/ 3132 w 10000"/>
              <a:gd name="connsiteY18" fmla="*/ 5774 h 10000"/>
              <a:gd name="connsiteX19" fmla="*/ 3316 w 10000"/>
              <a:gd name="connsiteY19" fmla="*/ 5694 h 10000"/>
              <a:gd name="connsiteX20" fmla="*/ 3501 w 10000"/>
              <a:gd name="connsiteY20" fmla="*/ 5620 h 10000"/>
              <a:gd name="connsiteX21" fmla="*/ 3687 w 10000"/>
              <a:gd name="connsiteY21" fmla="*/ 5543 h 10000"/>
              <a:gd name="connsiteX22" fmla="*/ 3879 w 10000"/>
              <a:gd name="connsiteY22" fmla="*/ 5474 h 10000"/>
              <a:gd name="connsiteX23" fmla="*/ 3879 w 10000"/>
              <a:gd name="connsiteY23" fmla="*/ 5474 h 10000"/>
              <a:gd name="connsiteX24" fmla="*/ 4091 w 10000"/>
              <a:gd name="connsiteY24" fmla="*/ 5399 h 10000"/>
              <a:gd name="connsiteX25" fmla="*/ 4306 w 10000"/>
              <a:gd name="connsiteY25" fmla="*/ 5330 h 10000"/>
              <a:gd name="connsiteX26" fmla="*/ 4516 w 10000"/>
              <a:gd name="connsiteY26" fmla="*/ 5260 h 10000"/>
              <a:gd name="connsiteX27" fmla="*/ 4730 w 10000"/>
              <a:gd name="connsiteY27" fmla="*/ 5198 h 10000"/>
              <a:gd name="connsiteX28" fmla="*/ 5153 w 10000"/>
              <a:gd name="connsiteY28" fmla="*/ 5077 h 10000"/>
              <a:gd name="connsiteX29" fmla="*/ 5571 w 10000"/>
              <a:gd name="connsiteY29" fmla="*/ 4963 h 10000"/>
              <a:gd name="connsiteX30" fmla="*/ 5559 w 10000"/>
              <a:gd name="connsiteY30" fmla="*/ 4963 h 10000"/>
              <a:gd name="connsiteX31" fmla="*/ 5559 w 10000"/>
              <a:gd name="connsiteY31" fmla="*/ 4963 h 10000"/>
              <a:gd name="connsiteX32" fmla="*/ 6438 w 10000"/>
              <a:gd name="connsiteY32" fmla="*/ 4705 h 10000"/>
              <a:gd name="connsiteX33" fmla="*/ 6826 w 10000"/>
              <a:gd name="connsiteY33" fmla="*/ 4586 h 10000"/>
              <a:gd name="connsiteX34" fmla="*/ 7180 w 10000"/>
              <a:gd name="connsiteY34" fmla="*/ 4474 h 10000"/>
              <a:gd name="connsiteX35" fmla="*/ 7346 w 10000"/>
              <a:gd name="connsiteY35" fmla="*/ 4410 h 10000"/>
              <a:gd name="connsiteX36" fmla="*/ 7504 w 10000"/>
              <a:gd name="connsiteY36" fmla="*/ 4350 h 10000"/>
              <a:gd name="connsiteX37" fmla="*/ 7658 w 10000"/>
              <a:gd name="connsiteY37" fmla="*/ 4288 h 10000"/>
              <a:gd name="connsiteX38" fmla="*/ 7804 w 10000"/>
              <a:gd name="connsiteY38" fmla="*/ 4229 h 10000"/>
              <a:gd name="connsiteX39" fmla="*/ 7942 w 10000"/>
              <a:gd name="connsiteY39" fmla="*/ 4159 h 10000"/>
              <a:gd name="connsiteX40" fmla="*/ 8078 w 10000"/>
              <a:gd name="connsiteY40" fmla="*/ 4090 h 10000"/>
              <a:gd name="connsiteX41" fmla="*/ 8206 w 10000"/>
              <a:gd name="connsiteY41" fmla="*/ 4020 h 10000"/>
              <a:gd name="connsiteX42" fmla="*/ 8332 w 10000"/>
              <a:gd name="connsiteY42" fmla="*/ 3943 h 10000"/>
              <a:gd name="connsiteX43" fmla="*/ 8452 w 10000"/>
              <a:gd name="connsiteY43" fmla="*/ 3864 h 10000"/>
              <a:gd name="connsiteX44" fmla="*/ 8570 w 10000"/>
              <a:gd name="connsiteY44" fmla="*/ 3775 h 10000"/>
              <a:gd name="connsiteX45" fmla="*/ 8683 w 10000"/>
              <a:gd name="connsiteY45" fmla="*/ 3688 h 10000"/>
              <a:gd name="connsiteX46" fmla="*/ 8794 w 10000"/>
              <a:gd name="connsiteY46" fmla="*/ 3591 h 10000"/>
              <a:gd name="connsiteX47" fmla="*/ 8899 w 10000"/>
              <a:gd name="connsiteY47" fmla="*/ 3487 h 10000"/>
              <a:gd name="connsiteX48" fmla="*/ 9007 w 10000"/>
              <a:gd name="connsiteY48" fmla="*/ 3378 h 10000"/>
              <a:gd name="connsiteX49" fmla="*/ 9107 w 10000"/>
              <a:gd name="connsiteY49" fmla="*/ 3259 h 10000"/>
              <a:gd name="connsiteX50" fmla="*/ 9210 w 10000"/>
              <a:gd name="connsiteY50" fmla="*/ 3132 h 10000"/>
              <a:gd name="connsiteX51" fmla="*/ 9310 w 10000"/>
              <a:gd name="connsiteY51" fmla="*/ 2999 h 10000"/>
              <a:gd name="connsiteX52" fmla="*/ 9407 w 10000"/>
              <a:gd name="connsiteY52" fmla="*/ 2857 h 10000"/>
              <a:gd name="connsiteX53" fmla="*/ 9506 w 10000"/>
              <a:gd name="connsiteY53" fmla="*/ 2703 h 10000"/>
              <a:gd name="connsiteX54" fmla="*/ 9603 w 10000"/>
              <a:gd name="connsiteY54" fmla="*/ 2537 h 10000"/>
              <a:gd name="connsiteX55" fmla="*/ 9700 w 10000"/>
              <a:gd name="connsiteY55" fmla="*/ 2366 h 10000"/>
              <a:gd name="connsiteX56" fmla="*/ 9799 w 10000"/>
              <a:gd name="connsiteY56" fmla="*/ 2185 h 10000"/>
              <a:gd name="connsiteX57" fmla="*/ 9899 w 10000"/>
              <a:gd name="connsiteY57" fmla="*/ 1987 h 10000"/>
              <a:gd name="connsiteX58" fmla="*/ 10000 w 10000"/>
              <a:gd name="connsiteY58" fmla="*/ 1781 h 10000"/>
              <a:gd name="connsiteX59" fmla="*/ 10000 w 10000"/>
              <a:gd name="connsiteY59" fmla="*/ 0 h 10000"/>
              <a:gd name="connsiteX60" fmla="*/ 0 w 10000"/>
              <a:gd name="connsiteY60" fmla="*/ 22 h 10000"/>
              <a:gd name="connsiteX61" fmla="*/ 16 w 10000"/>
              <a:gd name="connsiteY61" fmla="*/ 10000 h 10000"/>
              <a:gd name="connsiteX62" fmla="*/ 30 w 10000"/>
              <a:gd name="connsiteY62" fmla="*/ 9994 h 10000"/>
              <a:gd name="connsiteX63" fmla="*/ 50 w 10000"/>
              <a:gd name="connsiteY63" fmla="*/ 10000 h 10000"/>
              <a:gd name="connsiteX64" fmla="*/ 50 w 10000"/>
              <a:gd name="connsiteY64" fmla="*/ 10000 h 10000"/>
              <a:gd name="connsiteX65" fmla="*/ 76 w 10000"/>
              <a:gd name="connsiteY65" fmla="*/ 9797 h 10000"/>
              <a:gd name="connsiteX66" fmla="*/ 111 w 10000"/>
              <a:gd name="connsiteY66" fmla="*/ 9583 h 10000"/>
              <a:gd name="connsiteX67" fmla="*/ 147 w 10000"/>
              <a:gd name="connsiteY67" fmla="*/ 9385 h 10000"/>
              <a:gd name="connsiteX68" fmla="*/ 192 w 10000"/>
              <a:gd name="connsiteY68" fmla="*/ 9182 h 10000"/>
              <a:gd name="connsiteX69" fmla="*/ 192 w 10000"/>
              <a:gd name="connsiteY69" fmla="*/ 9182 h 10000"/>
              <a:gd name="connsiteX70" fmla="*/ 231 w 10000"/>
              <a:gd name="connsiteY70" fmla="*/ 9043 h 10000"/>
              <a:gd name="connsiteX71" fmla="*/ 267 w 10000"/>
              <a:gd name="connsiteY71" fmla="*/ 8909 h 10000"/>
              <a:gd name="connsiteX72" fmla="*/ 309 w 10000"/>
              <a:gd name="connsiteY72" fmla="*/ 8780 h 10000"/>
              <a:gd name="connsiteX73" fmla="*/ 350 w 10000"/>
              <a:gd name="connsiteY73" fmla="*/ 8648 h 10000"/>
              <a:gd name="connsiteX74" fmla="*/ 397 w 10000"/>
              <a:gd name="connsiteY74" fmla="*/ 8519 h 10000"/>
              <a:gd name="connsiteX75" fmla="*/ 444 w 10000"/>
              <a:gd name="connsiteY75" fmla="*/ 8400 h 10000"/>
              <a:gd name="connsiteX76" fmla="*/ 497 w 10000"/>
              <a:gd name="connsiteY76" fmla="*/ 8276 h 10000"/>
              <a:gd name="connsiteX77" fmla="*/ 551 w 10000"/>
              <a:gd name="connsiteY77" fmla="*/ 8155 h 10000"/>
              <a:gd name="connsiteX78" fmla="*/ 608 w 10000"/>
              <a:gd name="connsiteY78" fmla="*/ 8036 h 10000"/>
              <a:gd name="connsiteX79" fmla="*/ 671 w 10000"/>
              <a:gd name="connsiteY79" fmla="*/ 7919 h 10000"/>
              <a:gd name="connsiteX80" fmla="*/ 735 w 10000"/>
              <a:gd name="connsiteY80" fmla="*/ 7808 h 10000"/>
              <a:gd name="connsiteX81" fmla="*/ 801 w 10000"/>
              <a:gd name="connsiteY81" fmla="*/ 7698 h 10000"/>
              <a:gd name="connsiteX82" fmla="*/ 870 w 10000"/>
              <a:gd name="connsiteY82" fmla="*/ 7587 h 10000"/>
              <a:gd name="connsiteX83" fmla="*/ 943 w 10000"/>
              <a:gd name="connsiteY83" fmla="*/ 7485 h 10000"/>
              <a:gd name="connsiteX84" fmla="*/ 1018 w 10000"/>
              <a:gd name="connsiteY84" fmla="*/ 7383 h 10000"/>
              <a:gd name="connsiteX85" fmla="*/ 1097 w 10000"/>
              <a:gd name="connsiteY85" fmla="*/ 7282 h 10000"/>
              <a:gd name="connsiteX86" fmla="*/ 1097 w 10000"/>
              <a:gd name="connsiteY86" fmla="*/ 7282 h 10000"/>
              <a:gd name="connsiteX0" fmla="*/ 1097 w 10000"/>
              <a:gd name="connsiteY0" fmla="*/ 7282 h 10318"/>
              <a:gd name="connsiteX1" fmla="*/ 1097 w 10000"/>
              <a:gd name="connsiteY1" fmla="*/ 7282 h 10318"/>
              <a:gd name="connsiteX2" fmla="*/ 1175 w 10000"/>
              <a:gd name="connsiteY2" fmla="*/ 7190 h 10318"/>
              <a:gd name="connsiteX3" fmla="*/ 1255 w 10000"/>
              <a:gd name="connsiteY3" fmla="*/ 7098 h 10318"/>
              <a:gd name="connsiteX4" fmla="*/ 1333 w 10000"/>
              <a:gd name="connsiteY4" fmla="*/ 7011 h 10318"/>
              <a:gd name="connsiteX5" fmla="*/ 1411 w 10000"/>
              <a:gd name="connsiteY5" fmla="*/ 6930 h 10318"/>
              <a:gd name="connsiteX6" fmla="*/ 1494 w 10000"/>
              <a:gd name="connsiteY6" fmla="*/ 6850 h 10318"/>
              <a:gd name="connsiteX7" fmla="*/ 1572 w 10000"/>
              <a:gd name="connsiteY7" fmla="*/ 6773 h 10318"/>
              <a:gd name="connsiteX8" fmla="*/ 1654 w 10000"/>
              <a:gd name="connsiteY8" fmla="*/ 6699 h 10318"/>
              <a:gd name="connsiteX9" fmla="*/ 1737 w 10000"/>
              <a:gd name="connsiteY9" fmla="*/ 6625 h 10318"/>
              <a:gd name="connsiteX10" fmla="*/ 1822 w 10000"/>
              <a:gd name="connsiteY10" fmla="*/ 6555 h 10318"/>
              <a:gd name="connsiteX11" fmla="*/ 1903 w 10000"/>
              <a:gd name="connsiteY11" fmla="*/ 6491 h 10318"/>
              <a:gd name="connsiteX12" fmla="*/ 2070 w 10000"/>
              <a:gd name="connsiteY12" fmla="*/ 6362 h 10318"/>
              <a:gd name="connsiteX13" fmla="*/ 2243 w 10000"/>
              <a:gd name="connsiteY13" fmla="*/ 6250 h 10318"/>
              <a:gd name="connsiteX14" fmla="*/ 2416 w 10000"/>
              <a:gd name="connsiteY14" fmla="*/ 6138 h 10318"/>
              <a:gd name="connsiteX15" fmla="*/ 2590 w 10000"/>
              <a:gd name="connsiteY15" fmla="*/ 6039 h 10318"/>
              <a:gd name="connsiteX16" fmla="*/ 2770 w 10000"/>
              <a:gd name="connsiteY16" fmla="*/ 5945 h 10318"/>
              <a:gd name="connsiteX17" fmla="*/ 2950 w 10000"/>
              <a:gd name="connsiteY17" fmla="*/ 5856 h 10318"/>
              <a:gd name="connsiteX18" fmla="*/ 3132 w 10000"/>
              <a:gd name="connsiteY18" fmla="*/ 5774 h 10318"/>
              <a:gd name="connsiteX19" fmla="*/ 3316 w 10000"/>
              <a:gd name="connsiteY19" fmla="*/ 5694 h 10318"/>
              <a:gd name="connsiteX20" fmla="*/ 3501 w 10000"/>
              <a:gd name="connsiteY20" fmla="*/ 5620 h 10318"/>
              <a:gd name="connsiteX21" fmla="*/ 3687 w 10000"/>
              <a:gd name="connsiteY21" fmla="*/ 5543 h 10318"/>
              <a:gd name="connsiteX22" fmla="*/ 3879 w 10000"/>
              <a:gd name="connsiteY22" fmla="*/ 5474 h 10318"/>
              <a:gd name="connsiteX23" fmla="*/ 3879 w 10000"/>
              <a:gd name="connsiteY23" fmla="*/ 5474 h 10318"/>
              <a:gd name="connsiteX24" fmla="*/ 4091 w 10000"/>
              <a:gd name="connsiteY24" fmla="*/ 5399 h 10318"/>
              <a:gd name="connsiteX25" fmla="*/ 4306 w 10000"/>
              <a:gd name="connsiteY25" fmla="*/ 5330 h 10318"/>
              <a:gd name="connsiteX26" fmla="*/ 4516 w 10000"/>
              <a:gd name="connsiteY26" fmla="*/ 5260 h 10318"/>
              <a:gd name="connsiteX27" fmla="*/ 4730 w 10000"/>
              <a:gd name="connsiteY27" fmla="*/ 5198 h 10318"/>
              <a:gd name="connsiteX28" fmla="*/ 5153 w 10000"/>
              <a:gd name="connsiteY28" fmla="*/ 5077 h 10318"/>
              <a:gd name="connsiteX29" fmla="*/ 5571 w 10000"/>
              <a:gd name="connsiteY29" fmla="*/ 4963 h 10318"/>
              <a:gd name="connsiteX30" fmla="*/ 5559 w 10000"/>
              <a:gd name="connsiteY30" fmla="*/ 4963 h 10318"/>
              <a:gd name="connsiteX31" fmla="*/ 5559 w 10000"/>
              <a:gd name="connsiteY31" fmla="*/ 4963 h 10318"/>
              <a:gd name="connsiteX32" fmla="*/ 6438 w 10000"/>
              <a:gd name="connsiteY32" fmla="*/ 4705 h 10318"/>
              <a:gd name="connsiteX33" fmla="*/ 6826 w 10000"/>
              <a:gd name="connsiteY33" fmla="*/ 4586 h 10318"/>
              <a:gd name="connsiteX34" fmla="*/ 7180 w 10000"/>
              <a:gd name="connsiteY34" fmla="*/ 4474 h 10318"/>
              <a:gd name="connsiteX35" fmla="*/ 7346 w 10000"/>
              <a:gd name="connsiteY35" fmla="*/ 4410 h 10318"/>
              <a:gd name="connsiteX36" fmla="*/ 7504 w 10000"/>
              <a:gd name="connsiteY36" fmla="*/ 4350 h 10318"/>
              <a:gd name="connsiteX37" fmla="*/ 7658 w 10000"/>
              <a:gd name="connsiteY37" fmla="*/ 4288 h 10318"/>
              <a:gd name="connsiteX38" fmla="*/ 7804 w 10000"/>
              <a:gd name="connsiteY38" fmla="*/ 4229 h 10318"/>
              <a:gd name="connsiteX39" fmla="*/ 7942 w 10000"/>
              <a:gd name="connsiteY39" fmla="*/ 4159 h 10318"/>
              <a:gd name="connsiteX40" fmla="*/ 8078 w 10000"/>
              <a:gd name="connsiteY40" fmla="*/ 4090 h 10318"/>
              <a:gd name="connsiteX41" fmla="*/ 8206 w 10000"/>
              <a:gd name="connsiteY41" fmla="*/ 4020 h 10318"/>
              <a:gd name="connsiteX42" fmla="*/ 8332 w 10000"/>
              <a:gd name="connsiteY42" fmla="*/ 3943 h 10318"/>
              <a:gd name="connsiteX43" fmla="*/ 8452 w 10000"/>
              <a:gd name="connsiteY43" fmla="*/ 3864 h 10318"/>
              <a:gd name="connsiteX44" fmla="*/ 8570 w 10000"/>
              <a:gd name="connsiteY44" fmla="*/ 3775 h 10318"/>
              <a:gd name="connsiteX45" fmla="*/ 8683 w 10000"/>
              <a:gd name="connsiteY45" fmla="*/ 3688 h 10318"/>
              <a:gd name="connsiteX46" fmla="*/ 8794 w 10000"/>
              <a:gd name="connsiteY46" fmla="*/ 3591 h 10318"/>
              <a:gd name="connsiteX47" fmla="*/ 8899 w 10000"/>
              <a:gd name="connsiteY47" fmla="*/ 3487 h 10318"/>
              <a:gd name="connsiteX48" fmla="*/ 9007 w 10000"/>
              <a:gd name="connsiteY48" fmla="*/ 3378 h 10318"/>
              <a:gd name="connsiteX49" fmla="*/ 9107 w 10000"/>
              <a:gd name="connsiteY49" fmla="*/ 3259 h 10318"/>
              <a:gd name="connsiteX50" fmla="*/ 9210 w 10000"/>
              <a:gd name="connsiteY50" fmla="*/ 3132 h 10318"/>
              <a:gd name="connsiteX51" fmla="*/ 9310 w 10000"/>
              <a:gd name="connsiteY51" fmla="*/ 2999 h 10318"/>
              <a:gd name="connsiteX52" fmla="*/ 9407 w 10000"/>
              <a:gd name="connsiteY52" fmla="*/ 2857 h 10318"/>
              <a:gd name="connsiteX53" fmla="*/ 9506 w 10000"/>
              <a:gd name="connsiteY53" fmla="*/ 2703 h 10318"/>
              <a:gd name="connsiteX54" fmla="*/ 9603 w 10000"/>
              <a:gd name="connsiteY54" fmla="*/ 2537 h 10318"/>
              <a:gd name="connsiteX55" fmla="*/ 9700 w 10000"/>
              <a:gd name="connsiteY55" fmla="*/ 2366 h 10318"/>
              <a:gd name="connsiteX56" fmla="*/ 9799 w 10000"/>
              <a:gd name="connsiteY56" fmla="*/ 2185 h 10318"/>
              <a:gd name="connsiteX57" fmla="*/ 9899 w 10000"/>
              <a:gd name="connsiteY57" fmla="*/ 1987 h 10318"/>
              <a:gd name="connsiteX58" fmla="*/ 10000 w 10000"/>
              <a:gd name="connsiteY58" fmla="*/ 1781 h 10318"/>
              <a:gd name="connsiteX59" fmla="*/ 10000 w 10000"/>
              <a:gd name="connsiteY59" fmla="*/ 0 h 10318"/>
              <a:gd name="connsiteX60" fmla="*/ 0 w 10000"/>
              <a:gd name="connsiteY60" fmla="*/ 22 h 10318"/>
              <a:gd name="connsiteX61" fmla="*/ 16 w 10000"/>
              <a:gd name="connsiteY61" fmla="*/ 10000 h 10318"/>
              <a:gd name="connsiteX62" fmla="*/ 16 w 10000"/>
              <a:gd name="connsiteY62" fmla="*/ 10316 h 10318"/>
              <a:gd name="connsiteX63" fmla="*/ 50 w 10000"/>
              <a:gd name="connsiteY63" fmla="*/ 10000 h 10318"/>
              <a:gd name="connsiteX64" fmla="*/ 50 w 10000"/>
              <a:gd name="connsiteY64" fmla="*/ 10000 h 10318"/>
              <a:gd name="connsiteX65" fmla="*/ 76 w 10000"/>
              <a:gd name="connsiteY65" fmla="*/ 9797 h 10318"/>
              <a:gd name="connsiteX66" fmla="*/ 111 w 10000"/>
              <a:gd name="connsiteY66" fmla="*/ 9583 h 10318"/>
              <a:gd name="connsiteX67" fmla="*/ 147 w 10000"/>
              <a:gd name="connsiteY67" fmla="*/ 9385 h 10318"/>
              <a:gd name="connsiteX68" fmla="*/ 192 w 10000"/>
              <a:gd name="connsiteY68" fmla="*/ 9182 h 10318"/>
              <a:gd name="connsiteX69" fmla="*/ 192 w 10000"/>
              <a:gd name="connsiteY69" fmla="*/ 9182 h 10318"/>
              <a:gd name="connsiteX70" fmla="*/ 231 w 10000"/>
              <a:gd name="connsiteY70" fmla="*/ 9043 h 10318"/>
              <a:gd name="connsiteX71" fmla="*/ 267 w 10000"/>
              <a:gd name="connsiteY71" fmla="*/ 8909 h 10318"/>
              <a:gd name="connsiteX72" fmla="*/ 309 w 10000"/>
              <a:gd name="connsiteY72" fmla="*/ 8780 h 10318"/>
              <a:gd name="connsiteX73" fmla="*/ 350 w 10000"/>
              <a:gd name="connsiteY73" fmla="*/ 8648 h 10318"/>
              <a:gd name="connsiteX74" fmla="*/ 397 w 10000"/>
              <a:gd name="connsiteY74" fmla="*/ 8519 h 10318"/>
              <a:gd name="connsiteX75" fmla="*/ 444 w 10000"/>
              <a:gd name="connsiteY75" fmla="*/ 8400 h 10318"/>
              <a:gd name="connsiteX76" fmla="*/ 497 w 10000"/>
              <a:gd name="connsiteY76" fmla="*/ 8276 h 10318"/>
              <a:gd name="connsiteX77" fmla="*/ 551 w 10000"/>
              <a:gd name="connsiteY77" fmla="*/ 8155 h 10318"/>
              <a:gd name="connsiteX78" fmla="*/ 608 w 10000"/>
              <a:gd name="connsiteY78" fmla="*/ 8036 h 10318"/>
              <a:gd name="connsiteX79" fmla="*/ 671 w 10000"/>
              <a:gd name="connsiteY79" fmla="*/ 7919 h 10318"/>
              <a:gd name="connsiteX80" fmla="*/ 735 w 10000"/>
              <a:gd name="connsiteY80" fmla="*/ 7808 h 10318"/>
              <a:gd name="connsiteX81" fmla="*/ 801 w 10000"/>
              <a:gd name="connsiteY81" fmla="*/ 7698 h 10318"/>
              <a:gd name="connsiteX82" fmla="*/ 870 w 10000"/>
              <a:gd name="connsiteY82" fmla="*/ 7587 h 10318"/>
              <a:gd name="connsiteX83" fmla="*/ 943 w 10000"/>
              <a:gd name="connsiteY83" fmla="*/ 7485 h 10318"/>
              <a:gd name="connsiteX84" fmla="*/ 1018 w 10000"/>
              <a:gd name="connsiteY84" fmla="*/ 7383 h 10318"/>
              <a:gd name="connsiteX85" fmla="*/ 1097 w 10000"/>
              <a:gd name="connsiteY85" fmla="*/ 7282 h 10318"/>
              <a:gd name="connsiteX86" fmla="*/ 1097 w 10000"/>
              <a:gd name="connsiteY86" fmla="*/ 7282 h 10318"/>
              <a:gd name="connsiteX0" fmla="*/ 1097 w 10000"/>
              <a:gd name="connsiteY0" fmla="*/ 7282 h 10321"/>
              <a:gd name="connsiteX1" fmla="*/ 1097 w 10000"/>
              <a:gd name="connsiteY1" fmla="*/ 7282 h 10321"/>
              <a:gd name="connsiteX2" fmla="*/ 1175 w 10000"/>
              <a:gd name="connsiteY2" fmla="*/ 7190 h 10321"/>
              <a:gd name="connsiteX3" fmla="*/ 1255 w 10000"/>
              <a:gd name="connsiteY3" fmla="*/ 7098 h 10321"/>
              <a:gd name="connsiteX4" fmla="*/ 1333 w 10000"/>
              <a:gd name="connsiteY4" fmla="*/ 7011 h 10321"/>
              <a:gd name="connsiteX5" fmla="*/ 1411 w 10000"/>
              <a:gd name="connsiteY5" fmla="*/ 6930 h 10321"/>
              <a:gd name="connsiteX6" fmla="*/ 1494 w 10000"/>
              <a:gd name="connsiteY6" fmla="*/ 6850 h 10321"/>
              <a:gd name="connsiteX7" fmla="*/ 1572 w 10000"/>
              <a:gd name="connsiteY7" fmla="*/ 6773 h 10321"/>
              <a:gd name="connsiteX8" fmla="*/ 1654 w 10000"/>
              <a:gd name="connsiteY8" fmla="*/ 6699 h 10321"/>
              <a:gd name="connsiteX9" fmla="*/ 1737 w 10000"/>
              <a:gd name="connsiteY9" fmla="*/ 6625 h 10321"/>
              <a:gd name="connsiteX10" fmla="*/ 1822 w 10000"/>
              <a:gd name="connsiteY10" fmla="*/ 6555 h 10321"/>
              <a:gd name="connsiteX11" fmla="*/ 1903 w 10000"/>
              <a:gd name="connsiteY11" fmla="*/ 6491 h 10321"/>
              <a:gd name="connsiteX12" fmla="*/ 2070 w 10000"/>
              <a:gd name="connsiteY12" fmla="*/ 6362 h 10321"/>
              <a:gd name="connsiteX13" fmla="*/ 2243 w 10000"/>
              <a:gd name="connsiteY13" fmla="*/ 6250 h 10321"/>
              <a:gd name="connsiteX14" fmla="*/ 2416 w 10000"/>
              <a:gd name="connsiteY14" fmla="*/ 6138 h 10321"/>
              <a:gd name="connsiteX15" fmla="*/ 2590 w 10000"/>
              <a:gd name="connsiteY15" fmla="*/ 6039 h 10321"/>
              <a:gd name="connsiteX16" fmla="*/ 2770 w 10000"/>
              <a:gd name="connsiteY16" fmla="*/ 5945 h 10321"/>
              <a:gd name="connsiteX17" fmla="*/ 2950 w 10000"/>
              <a:gd name="connsiteY17" fmla="*/ 5856 h 10321"/>
              <a:gd name="connsiteX18" fmla="*/ 3132 w 10000"/>
              <a:gd name="connsiteY18" fmla="*/ 5774 h 10321"/>
              <a:gd name="connsiteX19" fmla="*/ 3316 w 10000"/>
              <a:gd name="connsiteY19" fmla="*/ 5694 h 10321"/>
              <a:gd name="connsiteX20" fmla="*/ 3501 w 10000"/>
              <a:gd name="connsiteY20" fmla="*/ 5620 h 10321"/>
              <a:gd name="connsiteX21" fmla="*/ 3687 w 10000"/>
              <a:gd name="connsiteY21" fmla="*/ 5543 h 10321"/>
              <a:gd name="connsiteX22" fmla="*/ 3879 w 10000"/>
              <a:gd name="connsiteY22" fmla="*/ 5474 h 10321"/>
              <a:gd name="connsiteX23" fmla="*/ 3879 w 10000"/>
              <a:gd name="connsiteY23" fmla="*/ 5474 h 10321"/>
              <a:gd name="connsiteX24" fmla="*/ 4091 w 10000"/>
              <a:gd name="connsiteY24" fmla="*/ 5399 h 10321"/>
              <a:gd name="connsiteX25" fmla="*/ 4306 w 10000"/>
              <a:gd name="connsiteY25" fmla="*/ 5330 h 10321"/>
              <a:gd name="connsiteX26" fmla="*/ 4516 w 10000"/>
              <a:gd name="connsiteY26" fmla="*/ 5260 h 10321"/>
              <a:gd name="connsiteX27" fmla="*/ 4730 w 10000"/>
              <a:gd name="connsiteY27" fmla="*/ 5198 h 10321"/>
              <a:gd name="connsiteX28" fmla="*/ 5153 w 10000"/>
              <a:gd name="connsiteY28" fmla="*/ 5077 h 10321"/>
              <a:gd name="connsiteX29" fmla="*/ 5571 w 10000"/>
              <a:gd name="connsiteY29" fmla="*/ 4963 h 10321"/>
              <a:gd name="connsiteX30" fmla="*/ 5559 w 10000"/>
              <a:gd name="connsiteY30" fmla="*/ 4963 h 10321"/>
              <a:gd name="connsiteX31" fmla="*/ 5559 w 10000"/>
              <a:gd name="connsiteY31" fmla="*/ 4963 h 10321"/>
              <a:gd name="connsiteX32" fmla="*/ 6438 w 10000"/>
              <a:gd name="connsiteY32" fmla="*/ 4705 h 10321"/>
              <a:gd name="connsiteX33" fmla="*/ 6826 w 10000"/>
              <a:gd name="connsiteY33" fmla="*/ 4586 h 10321"/>
              <a:gd name="connsiteX34" fmla="*/ 7180 w 10000"/>
              <a:gd name="connsiteY34" fmla="*/ 4474 h 10321"/>
              <a:gd name="connsiteX35" fmla="*/ 7346 w 10000"/>
              <a:gd name="connsiteY35" fmla="*/ 4410 h 10321"/>
              <a:gd name="connsiteX36" fmla="*/ 7504 w 10000"/>
              <a:gd name="connsiteY36" fmla="*/ 4350 h 10321"/>
              <a:gd name="connsiteX37" fmla="*/ 7658 w 10000"/>
              <a:gd name="connsiteY37" fmla="*/ 4288 h 10321"/>
              <a:gd name="connsiteX38" fmla="*/ 7804 w 10000"/>
              <a:gd name="connsiteY38" fmla="*/ 4229 h 10321"/>
              <a:gd name="connsiteX39" fmla="*/ 7942 w 10000"/>
              <a:gd name="connsiteY39" fmla="*/ 4159 h 10321"/>
              <a:gd name="connsiteX40" fmla="*/ 8078 w 10000"/>
              <a:gd name="connsiteY40" fmla="*/ 4090 h 10321"/>
              <a:gd name="connsiteX41" fmla="*/ 8206 w 10000"/>
              <a:gd name="connsiteY41" fmla="*/ 4020 h 10321"/>
              <a:gd name="connsiteX42" fmla="*/ 8332 w 10000"/>
              <a:gd name="connsiteY42" fmla="*/ 3943 h 10321"/>
              <a:gd name="connsiteX43" fmla="*/ 8452 w 10000"/>
              <a:gd name="connsiteY43" fmla="*/ 3864 h 10321"/>
              <a:gd name="connsiteX44" fmla="*/ 8570 w 10000"/>
              <a:gd name="connsiteY44" fmla="*/ 3775 h 10321"/>
              <a:gd name="connsiteX45" fmla="*/ 8683 w 10000"/>
              <a:gd name="connsiteY45" fmla="*/ 3688 h 10321"/>
              <a:gd name="connsiteX46" fmla="*/ 8794 w 10000"/>
              <a:gd name="connsiteY46" fmla="*/ 3591 h 10321"/>
              <a:gd name="connsiteX47" fmla="*/ 8899 w 10000"/>
              <a:gd name="connsiteY47" fmla="*/ 3487 h 10321"/>
              <a:gd name="connsiteX48" fmla="*/ 9007 w 10000"/>
              <a:gd name="connsiteY48" fmla="*/ 3378 h 10321"/>
              <a:gd name="connsiteX49" fmla="*/ 9107 w 10000"/>
              <a:gd name="connsiteY49" fmla="*/ 3259 h 10321"/>
              <a:gd name="connsiteX50" fmla="*/ 9210 w 10000"/>
              <a:gd name="connsiteY50" fmla="*/ 3132 h 10321"/>
              <a:gd name="connsiteX51" fmla="*/ 9310 w 10000"/>
              <a:gd name="connsiteY51" fmla="*/ 2999 h 10321"/>
              <a:gd name="connsiteX52" fmla="*/ 9407 w 10000"/>
              <a:gd name="connsiteY52" fmla="*/ 2857 h 10321"/>
              <a:gd name="connsiteX53" fmla="*/ 9506 w 10000"/>
              <a:gd name="connsiteY53" fmla="*/ 2703 h 10321"/>
              <a:gd name="connsiteX54" fmla="*/ 9603 w 10000"/>
              <a:gd name="connsiteY54" fmla="*/ 2537 h 10321"/>
              <a:gd name="connsiteX55" fmla="*/ 9700 w 10000"/>
              <a:gd name="connsiteY55" fmla="*/ 2366 h 10321"/>
              <a:gd name="connsiteX56" fmla="*/ 9799 w 10000"/>
              <a:gd name="connsiteY56" fmla="*/ 2185 h 10321"/>
              <a:gd name="connsiteX57" fmla="*/ 9899 w 10000"/>
              <a:gd name="connsiteY57" fmla="*/ 1987 h 10321"/>
              <a:gd name="connsiteX58" fmla="*/ 10000 w 10000"/>
              <a:gd name="connsiteY58" fmla="*/ 1781 h 10321"/>
              <a:gd name="connsiteX59" fmla="*/ 10000 w 10000"/>
              <a:gd name="connsiteY59" fmla="*/ 0 h 10321"/>
              <a:gd name="connsiteX60" fmla="*/ 0 w 10000"/>
              <a:gd name="connsiteY60" fmla="*/ 22 h 10321"/>
              <a:gd name="connsiteX61" fmla="*/ 16 w 10000"/>
              <a:gd name="connsiteY61" fmla="*/ 10000 h 10321"/>
              <a:gd name="connsiteX62" fmla="*/ 21 w 10000"/>
              <a:gd name="connsiteY62" fmla="*/ 10319 h 10321"/>
              <a:gd name="connsiteX63" fmla="*/ 50 w 10000"/>
              <a:gd name="connsiteY63" fmla="*/ 10000 h 10321"/>
              <a:gd name="connsiteX64" fmla="*/ 50 w 10000"/>
              <a:gd name="connsiteY64" fmla="*/ 10000 h 10321"/>
              <a:gd name="connsiteX65" fmla="*/ 76 w 10000"/>
              <a:gd name="connsiteY65" fmla="*/ 9797 h 10321"/>
              <a:gd name="connsiteX66" fmla="*/ 111 w 10000"/>
              <a:gd name="connsiteY66" fmla="*/ 9583 h 10321"/>
              <a:gd name="connsiteX67" fmla="*/ 147 w 10000"/>
              <a:gd name="connsiteY67" fmla="*/ 9385 h 10321"/>
              <a:gd name="connsiteX68" fmla="*/ 192 w 10000"/>
              <a:gd name="connsiteY68" fmla="*/ 9182 h 10321"/>
              <a:gd name="connsiteX69" fmla="*/ 192 w 10000"/>
              <a:gd name="connsiteY69" fmla="*/ 9182 h 10321"/>
              <a:gd name="connsiteX70" fmla="*/ 231 w 10000"/>
              <a:gd name="connsiteY70" fmla="*/ 9043 h 10321"/>
              <a:gd name="connsiteX71" fmla="*/ 267 w 10000"/>
              <a:gd name="connsiteY71" fmla="*/ 8909 h 10321"/>
              <a:gd name="connsiteX72" fmla="*/ 309 w 10000"/>
              <a:gd name="connsiteY72" fmla="*/ 8780 h 10321"/>
              <a:gd name="connsiteX73" fmla="*/ 350 w 10000"/>
              <a:gd name="connsiteY73" fmla="*/ 8648 h 10321"/>
              <a:gd name="connsiteX74" fmla="*/ 397 w 10000"/>
              <a:gd name="connsiteY74" fmla="*/ 8519 h 10321"/>
              <a:gd name="connsiteX75" fmla="*/ 444 w 10000"/>
              <a:gd name="connsiteY75" fmla="*/ 8400 h 10321"/>
              <a:gd name="connsiteX76" fmla="*/ 497 w 10000"/>
              <a:gd name="connsiteY76" fmla="*/ 8276 h 10321"/>
              <a:gd name="connsiteX77" fmla="*/ 551 w 10000"/>
              <a:gd name="connsiteY77" fmla="*/ 8155 h 10321"/>
              <a:gd name="connsiteX78" fmla="*/ 608 w 10000"/>
              <a:gd name="connsiteY78" fmla="*/ 8036 h 10321"/>
              <a:gd name="connsiteX79" fmla="*/ 671 w 10000"/>
              <a:gd name="connsiteY79" fmla="*/ 7919 h 10321"/>
              <a:gd name="connsiteX80" fmla="*/ 735 w 10000"/>
              <a:gd name="connsiteY80" fmla="*/ 7808 h 10321"/>
              <a:gd name="connsiteX81" fmla="*/ 801 w 10000"/>
              <a:gd name="connsiteY81" fmla="*/ 7698 h 10321"/>
              <a:gd name="connsiteX82" fmla="*/ 870 w 10000"/>
              <a:gd name="connsiteY82" fmla="*/ 7587 h 10321"/>
              <a:gd name="connsiteX83" fmla="*/ 943 w 10000"/>
              <a:gd name="connsiteY83" fmla="*/ 7485 h 10321"/>
              <a:gd name="connsiteX84" fmla="*/ 1018 w 10000"/>
              <a:gd name="connsiteY84" fmla="*/ 7383 h 10321"/>
              <a:gd name="connsiteX85" fmla="*/ 1097 w 10000"/>
              <a:gd name="connsiteY85" fmla="*/ 7282 h 10321"/>
              <a:gd name="connsiteX86" fmla="*/ 1097 w 10000"/>
              <a:gd name="connsiteY86" fmla="*/ 7282 h 10321"/>
              <a:gd name="connsiteX0" fmla="*/ 1097 w 10000"/>
              <a:gd name="connsiteY0" fmla="*/ 7282 h 10325"/>
              <a:gd name="connsiteX1" fmla="*/ 1097 w 10000"/>
              <a:gd name="connsiteY1" fmla="*/ 7282 h 10325"/>
              <a:gd name="connsiteX2" fmla="*/ 1175 w 10000"/>
              <a:gd name="connsiteY2" fmla="*/ 7190 h 10325"/>
              <a:gd name="connsiteX3" fmla="*/ 1255 w 10000"/>
              <a:gd name="connsiteY3" fmla="*/ 7098 h 10325"/>
              <a:gd name="connsiteX4" fmla="*/ 1333 w 10000"/>
              <a:gd name="connsiteY4" fmla="*/ 7011 h 10325"/>
              <a:gd name="connsiteX5" fmla="*/ 1411 w 10000"/>
              <a:gd name="connsiteY5" fmla="*/ 6930 h 10325"/>
              <a:gd name="connsiteX6" fmla="*/ 1494 w 10000"/>
              <a:gd name="connsiteY6" fmla="*/ 6850 h 10325"/>
              <a:gd name="connsiteX7" fmla="*/ 1572 w 10000"/>
              <a:gd name="connsiteY7" fmla="*/ 6773 h 10325"/>
              <a:gd name="connsiteX8" fmla="*/ 1654 w 10000"/>
              <a:gd name="connsiteY8" fmla="*/ 6699 h 10325"/>
              <a:gd name="connsiteX9" fmla="*/ 1737 w 10000"/>
              <a:gd name="connsiteY9" fmla="*/ 6625 h 10325"/>
              <a:gd name="connsiteX10" fmla="*/ 1822 w 10000"/>
              <a:gd name="connsiteY10" fmla="*/ 6555 h 10325"/>
              <a:gd name="connsiteX11" fmla="*/ 1903 w 10000"/>
              <a:gd name="connsiteY11" fmla="*/ 6491 h 10325"/>
              <a:gd name="connsiteX12" fmla="*/ 2070 w 10000"/>
              <a:gd name="connsiteY12" fmla="*/ 6362 h 10325"/>
              <a:gd name="connsiteX13" fmla="*/ 2243 w 10000"/>
              <a:gd name="connsiteY13" fmla="*/ 6250 h 10325"/>
              <a:gd name="connsiteX14" fmla="*/ 2416 w 10000"/>
              <a:gd name="connsiteY14" fmla="*/ 6138 h 10325"/>
              <a:gd name="connsiteX15" fmla="*/ 2590 w 10000"/>
              <a:gd name="connsiteY15" fmla="*/ 6039 h 10325"/>
              <a:gd name="connsiteX16" fmla="*/ 2770 w 10000"/>
              <a:gd name="connsiteY16" fmla="*/ 5945 h 10325"/>
              <a:gd name="connsiteX17" fmla="*/ 2950 w 10000"/>
              <a:gd name="connsiteY17" fmla="*/ 5856 h 10325"/>
              <a:gd name="connsiteX18" fmla="*/ 3132 w 10000"/>
              <a:gd name="connsiteY18" fmla="*/ 5774 h 10325"/>
              <a:gd name="connsiteX19" fmla="*/ 3316 w 10000"/>
              <a:gd name="connsiteY19" fmla="*/ 5694 h 10325"/>
              <a:gd name="connsiteX20" fmla="*/ 3501 w 10000"/>
              <a:gd name="connsiteY20" fmla="*/ 5620 h 10325"/>
              <a:gd name="connsiteX21" fmla="*/ 3687 w 10000"/>
              <a:gd name="connsiteY21" fmla="*/ 5543 h 10325"/>
              <a:gd name="connsiteX22" fmla="*/ 3879 w 10000"/>
              <a:gd name="connsiteY22" fmla="*/ 5474 h 10325"/>
              <a:gd name="connsiteX23" fmla="*/ 3879 w 10000"/>
              <a:gd name="connsiteY23" fmla="*/ 5474 h 10325"/>
              <a:gd name="connsiteX24" fmla="*/ 4091 w 10000"/>
              <a:gd name="connsiteY24" fmla="*/ 5399 h 10325"/>
              <a:gd name="connsiteX25" fmla="*/ 4306 w 10000"/>
              <a:gd name="connsiteY25" fmla="*/ 5330 h 10325"/>
              <a:gd name="connsiteX26" fmla="*/ 4516 w 10000"/>
              <a:gd name="connsiteY26" fmla="*/ 5260 h 10325"/>
              <a:gd name="connsiteX27" fmla="*/ 4730 w 10000"/>
              <a:gd name="connsiteY27" fmla="*/ 5198 h 10325"/>
              <a:gd name="connsiteX28" fmla="*/ 5153 w 10000"/>
              <a:gd name="connsiteY28" fmla="*/ 5077 h 10325"/>
              <a:gd name="connsiteX29" fmla="*/ 5571 w 10000"/>
              <a:gd name="connsiteY29" fmla="*/ 4963 h 10325"/>
              <a:gd name="connsiteX30" fmla="*/ 5559 w 10000"/>
              <a:gd name="connsiteY30" fmla="*/ 4963 h 10325"/>
              <a:gd name="connsiteX31" fmla="*/ 5559 w 10000"/>
              <a:gd name="connsiteY31" fmla="*/ 4963 h 10325"/>
              <a:gd name="connsiteX32" fmla="*/ 6438 w 10000"/>
              <a:gd name="connsiteY32" fmla="*/ 4705 h 10325"/>
              <a:gd name="connsiteX33" fmla="*/ 6826 w 10000"/>
              <a:gd name="connsiteY33" fmla="*/ 4586 h 10325"/>
              <a:gd name="connsiteX34" fmla="*/ 7180 w 10000"/>
              <a:gd name="connsiteY34" fmla="*/ 4474 h 10325"/>
              <a:gd name="connsiteX35" fmla="*/ 7346 w 10000"/>
              <a:gd name="connsiteY35" fmla="*/ 4410 h 10325"/>
              <a:gd name="connsiteX36" fmla="*/ 7504 w 10000"/>
              <a:gd name="connsiteY36" fmla="*/ 4350 h 10325"/>
              <a:gd name="connsiteX37" fmla="*/ 7658 w 10000"/>
              <a:gd name="connsiteY37" fmla="*/ 4288 h 10325"/>
              <a:gd name="connsiteX38" fmla="*/ 7804 w 10000"/>
              <a:gd name="connsiteY38" fmla="*/ 4229 h 10325"/>
              <a:gd name="connsiteX39" fmla="*/ 7942 w 10000"/>
              <a:gd name="connsiteY39" fmla="*/ 4159 h 10325"/>
              <a:gd name="connsiteX40" fmla="*/ 8078 w 10000"/>
              <a:gd name="connsiteY40" fmla="*/ 4090 h 10325"/>
              <a:gd name="connsiteX41" fmla="*/ 8206 w 10000"/>
              <a:gd name="connsiteY41" fmla="*/ 4020 h 10325"/>
              <a:gd name="connsiteX42" fmla="*/ 8332 w 10000"/>
              <a:gd name="connsiteY42" fmla="*/ 3943 h 10325"/>
              <a:gd name="connsiteX43" fmla="*/ 8452 w 10000"/>
              <a:gd name="connsiteY43" fmla="*/ 3864 h 10325"/>
              <a:gd name="connsiteX44" fmla="*/ 8570 w 10000"/>
              <a:gd name="connsiteY44" fmla="*/ 3775 h 10325"/>
              <a:gd name="connsiteX45" fmla="*/ 8683 w 10000"/>
              <a:gd name="connsiteY45" fmla="*/ 3688 h 10325"/>
              <a:gd name="connsiteX46" fmla="*/ 8794 w 10000"/>
              <a:gd name="connsiteY46" fmla="*/ 3591 h 10325"/>
              <a:gd name="connsiteX47" fmla="*/ 8899 w 10000"/>
              <a:gd name="connsiteY47" fmla="*/ 3487 h 10325"/>
              <a:gd name="connsiteX48" fmla="*/ 9007 w 10000"/>
              <a:gd name="connsiteY48" fmla="*/ 3378 h 10325"/>
              <a:gd name="connsiteX49" fmla="*/ 9107 w 10000"/>
              <a:gd name="connsiteY49" fmla="*/ 3259 h 10325"/>
              <a:gd name="connsiteX50" fmla="*/ 9210 w 10000"/>
              <a:gd name="connsiteY50" fmla="*/ 3132 h 10325"/>
              <a:gd name="connsiteX51" fmla="*/ 9310 w 10000"/>
              <a:gd name="connsiteY51" fmla="*/ 2999 h 10325"/>
              <a:gd name="connsiteX52" fmla="*/ 9407 w 10000"/>
              <a:gd name="connsiteY52" fmla="*/ 2857 h 10325"/>
              <a:gd name="connsiteX53" fmla="*/ 9506 w 10000"/>
              <a:gd name="connsiteY53" fmla="*/ 2703 h 10325"/>
              <a:gd name="connsiteX54" fmla="*/ 9603 w 10000"/>
              <a:gd name="connsiteY54" fmla="*/ 2537 h 10325"/>
              <a:gd name="connsiteX55" fmla="*/ 9700 w 10000"/>
              <a:gd name="connsiteY55" fmla="*/ 2366 h 10325"/>
              <a:gd name="connsiteX56" fmla="*/ 9799 w 10000"/>
              <a:gd name="connsiteY56" fmla="*/ 2185 h 10325"/>
              <a:gd name="connsiteX57" fmla="*/ 9899 w 10000"/>
              <a:gd name="connsiteY57" fmla="*/ 1987 h 10325"/>
              <a:gd name="connsiteX58" fmla="*/ 10000 w 10000"/>
              <a:gd name="connsiteY58" fmla="*/ 1781 h 10325"/>
              <a:gd name="connsiteX59" fmla="*/ 10000 w 10000"/>
              <a:gd name="connsiteY59" fmla="*/ 0 h 10325"/>
              <a:gd name="connsiteX60" fmla="*/ 0 w 10000"/>
              <a:gd name="connsiteY60" fmla="*/ 22 h 10325"/>
              <a:gd name="connsiteX61" fmla="*/ 16 w 10000"/>
              <a:gd name="connsiteY61" fmla="*/ 10000 h 10325"/>
              <a:gd name="connsiteX62" fmla="*/ 19 w 10000"/>
              <a:gd name="connsiteY62" fmla="*/ 10323 h 10325"/>
              <a:gd name="connsiteX63" fmla="*/ 50 w 10000"/>
              <a:gd name="connsiteY63" fmla="*/ 10000 h 10325"/>
              <a:gd name="connsiteX64" fmla="*/ 50 w 10000"/>
              <a:gd name="connsiteY64" fmla="*/ 10000 h 10325"/>
              <a:gd name="connsiteX65" fmla="*/ 76 w 10000"/>
              <a:gd name="connsiteY65" fmla="*/ 9797 h 10325"/>
              <a:gd name="connsiteX66" fmla="*/ 111 w 10000"/>
              <a:gd name="connsiteY66" fmla="*/ 9583 h 10325"/>
              <a:gd name="connsiteX67" fmla="*/ 147 w 10000"/>
              <a:gd name="connsiteY67" fmla="*/ 9385 h 10325"/>
              <a:gd name="connsiteX68" fmla="*/ 192 w 10000"/>
              <a:gd name="connsiteY68" fmla="*/ 9182 h 10325"/>
              <a:gd name="connsiteX69" fmla="*/ 192 w 10000"/>
              <a:gd name="connsiteY69" fmla="*/ 9182 h 10325"/>
              <a:gd name="connsiteX70" fmla="*/ 231 w 10000"/>
              <a:gd name="connsiteY70" fmla="*/ 9043 h 10325"/>
              <a:gd name="connsiteX71" fmla="*/ 267 w 10000"/>
              <a:gd name="connsiteY71" fmla="*/ 8909 h 10325"/>
              <a:gd name="connsiteX72" fmla="*/ 309 w 10000"/>
              <a:gd name="connsiteY72" fmla="*/ 8780 h 10325"/>
              <a:gd name="connsiteX73" fmla="*/ 350 w 10000"/>
              <a:gd name="connsiteY73" fmla="*/ 8648 h 10325"/>
              <a:gd name="connsiteX74" fmla="*/ 397 w 10000"/>
              <a:gd name="connsiteY74" fmla="*/ 8519 h 10325"/>
              <a:gd name="connsiteX75" fmla="*/ 444 w 10000"/>
              <a:gd name="connsiteY75" fmla="*/ 8400 h 10325"/>
              <a:gd name="connsiteX76" fmla="*/ 497 w 10000"/>
              <a:gd name="connsiteY76" fmla="*/ 8276 h 10325"/>
              <a:gd name="connsiteX77" fmla="*/ 551 w 10000"/>
              <a:gd name="connsiteY77" fmla="*/ 8155 h 10325"/>
              <a:gd name="connsiteX78" fmla="*/ 608 w 10000"/>
              <a:gd name="connsiteY78" fmla="*/ 8036 h 10325"/>
              <a:gd name="connsiteX79" fmla="*/ 671 w 10000"/>
              <a:gd name="connsiteY79" fmla="*/ 7919 h 10325"/>
              <a:gd name="connsiteX80" fmla="*/ 735 w 10000"/>
              <a:gd name="connsiteY80" fmla="*/ 7808 h 10325"/>
              <a:gd name="connsiteX81" fmla="*/ 801 w 10000"/>
              <a:gd name="connsiteY81" fmla="*/ 7698 h 10325"/>
              <a:gd name="connsiteX82" fmla="*/ 870 w 10000"/>
              <a:gd name="connsiteY82" fmla="*/ 7587 h 10325"/>
              <a:gd name="connsiteX83" fmla="*/ 943 w 10000"/>
              <a:gd name="connsiteY83" fmla="*/ 7485 h 10325"/>
              <a:gd name="connsiteX84" fmla="*/ 1018 w 10000"/>
              <a:gd name="connsiteY84" fmla="*/ 7383 h 10325"/>
              <a:gd name="connsiteX85" fmla="*/ 1097 w 10000"/>
              <a:gd name="connsiteY85" fmla="*/ 7282 h 10325"/>
              <a:gd name="connsiteX86" fmla="*/ 1097 w 10000"/>
              <a:gd name="connsiteY86" fmla="*/ 7282 h 10325"/>
              <a:gd name="connsiteX0" fmla="*/ 2760 w 11663"/>
              <a:gd name="connsiteY0" fmla="*/ 7282 h 10325"/>
              <a:gd name="connsiteX1" fmla="*/ 2760 w 11663"/>
              <a:gd name="connsiteY1" fmla="*/ 7282 h 10325"/>
              <a:gd name="connsiteX2" fmla="*/ 2838 w 11663"/>
              <a:gd name="connsiteY2" fmla="*/ 7190 h 10325"/>
              <a:gd name="connsiteX3" fmla="*/ 2918 w 11663"/>
              <a:gd name="connsiteY3" fmla="*/ 7098 h 10325"/>
              <a:gd name="connsiteX4" fmla="*/ 2996 w 11663"/>
              <a:gd name="connsiteY4" fmla="*/ 7011 h 10325"/>
              <a:gd name="connsiteX5" fmla="*/ 3074 w 11663"/>
              <a:gd name="connsiteY5" fmla="*/ 6930 h 10325"/>
              <a:gd name="connsiteX6" fmla="*/ 3157 w 11663"/>
              <a:gd name="connsiteY6" fmla="*/ 6850 h 10325"/>
              <a:gd name="connsiteX7" fmla="*/ 3235 w 11663"/>
              <a:gd name="connsiteY7" fmla="*/ 6773 h 10325"/>
              <a:gd name="connsiteX8" fmla="*/ 3317 w 11663"/>
              <a:gd name="connsiteY8" fmla="*/ 6699 h 10325"/>
              <a:gd name="connsiteX9" fmla="*/ 3400 w 11663"/>
              <a:gd name="connsiteY9" fmla="*/ 6625 h 10325"/>
              <a:gd name="connsiteX10" fmla="*/ 3485 w 11663"/>
              <a:gd name="connsiteY10" fmla="*/ 6555 h 10325"/>
              <a:gd name="connsiteX11" fmla="*/ 3566 w 11663"/>
              <a:gd name="connsiteY11" fmla="*/ 6491 h 10325"/>
              <a:gd name="connsiteX12" fmla="*/ 3733 w 11663"/>
              <a:gd name="connsiteY12" fmla="*/ 6362 h 10325"/>
              <a:gd name="connsiteX13" fmla="*/ 3906 w 11663"/>
              <a:gd name="connsiteY13" fmla="*/ 6250 h 10325"/>
              <a:gd name="connsiteX14" fmla="*/ 4079 w 11663"/>
              <a:gd name="connsiteY14" fmla="*/ 6138 h 10325"/>
              <a:gd name="connsiteX15" fmla="*/ 4253 w 11663"/>
              <a:gd name="connsiteY15" fmla="*/ 6039 h 10325"/>
              <a:gd name="connsiteX16" fmla="*/ 4433 w 11663"/>
              <a:gd name="connsiteY16" fmla="*/ 5945 h 10325"/>
              <a:gd name="connsiteX17" fmla="*/ 4613 w 11663"/>
              <a:gd name="connsiteY17" fmla="*/ 5856 h 10325"/>
              <a:gd name="connsiteX18" fmla="*/ 4795 w 11663"/>
              <a:gd name="connsiteY18" fmla="*/ 5774 h 10325"/>
              <a:gd name="connsiteX19" fmla="*/ 4979 w 11663"/>
              <a:gd name="connsiteY19" fmla="*/ 5694 h 10325"/>
              <a:gd name="connsiteX20" fmla="*/ 5164 w 11663"/>
              <a:gd name="connsiteY20" fmla="*/ 5620 h 10325"/>
              <a:gd name="connsiteX21" fmla="*/ 5350 w 11663"/>
              <a:gd name="connsiteY21" fmla="*/ 5543 h 10325"/>
              <a:gd name="connsiteX22" fmla="*/ 5542 w 11663"/>
              <a:gd name="connsiteY22" fmla="*/ 5474 h 10325"/>
              <a:gd name="connsiteX23" fmla="*/ 5542 w 11663"/>
              <a:gd name="connsiteY23" fmla="*/ 5474 h 10325"/>
              <a:gd name="connsiteX24" fmla="*/ 5754 w 11663"/>
              <a:gd name="connsiteY24" fmla="*/ 5399 h 10325"/>
              <a:gd name="connsiteX25" fmla="*/ 5969 w 11663"/>
              <a:gd name="connsiteY25" fmla="*/ 5330 h 10325"/>
              <a:gd name="connsiteX26" fmla="*/ 6179 w 11663"/>
              <a:gd name="connsiteY26" fmla="*/ 5260 h 10325"/>
              <a:gd name="connsiteX27" fmla="*/ 6393 w 11663"/>
              <a:gd name="connsiteY27" fmla="*/ 5198 h 10325"/>
              <a:gd name="connsiteX28" fmla="*/ 6816 w 11663"/>
              <a:gd name="connsiteY28" fmla="*/ 5077 h 10325"/>
              <a:gd name="connsiteX29" fmla="*/ 7234 w 11663"/>
              <a:gd name="connsiteY29" fmla="*/ 4963 h 10325"/>
              <a:gd name="connsiteX30" fmla="*/ 7222 w 11663"/>
              <a:gd name="connsiteY30" fmla="*/ 4963 h 10325"/>
              <a:gd name="connsiteX31" fmla="*/ 7222 w 11663"/>
              <a:gd name="connsiteY31" fmla="*/ 4963 h 10325"/>
              <a:gd name="connsiteX32" fmla="*/ 8101 w 11663"/>
              <a:gd name="connsiteY32" fmla="*/ 4705 h 10325"/>
              <a:gd name="connsiteX33" fmla="*/ 8489 w 11663"/>
              <a:gd name="connsiteY33" fmla="*/ 4586 h 10325"/>
              <a:gd name="connsiteX34" fmla="*/ 8843 w 11663"/>
              <a:gd name="connsiteY34" fmla="*/ 4474 h 10325"/>
              <a:gd name="connsiteX35" fmla="*/ 9009 w 11663"/>
              <a:gd name="connsiteY35" fmla="*/ 4410 h 10325"/>
              <a:gd name="connsiteX36" fmla="*/ 9167 w 11663"/>
              <a:gd name="connsiteY36" fmla="*/ 4350 h 10325"/>
              <a:gd name="connsiteX37" fmla="*/ 9321 w 11663"/>
              <a:gd name="connsiteY37" fmla="*/ 4288 h 10325"/>
              <a:gd name="connsiteX38" fmla="*/ 9467 w 11663"/>
              <a:gd name="connsiteY38" fmla="*/ 4229 h 10325"/>
              <a:gd name="connsiteX39" fmla="*/ 9605 w 11663"/>
              <a:gd name="connsiteY39" fmla="*/ 4159 h 10325"/>
              <a:gd name="connsiteX40" fmla="*/ 9741 w 11663"/>
              <a:gd name="connsiteY40" fmla="*/ 4090 h 10325"/>
              <a:gd name="connsiteX41" fmla="*/ 9869 w 11663"/>
              <a:gd name="connsiteY41" fmla="*/ 4020 h 10325"/>
              <a:gd name="connsiteX42" fmla="*/ 9995 w 11663"/>
              <a:gd name="connsiteY42" fmla="*/ 3943 h 10325"/>
              <a:gd name="connsiteX43" fmla="*/ 10115 w 11663"/>
              <a:gd name="connsiteY43" fmla="*/ 3864 h 10325"/>
              <a:gd name="connsiteX44" fmla="*/ 10233 w 11663"/>
              <a:gd name="connsiteY44" fmla="*/ 3775 h 10325"/>
              <a:gd name="connsiteX45" fmla="*/ 10346 w 11663"/>
              <a:gd name="connsiteY45" fmla="*/ 3688 h 10325"/>
              <a:gd name="connsiteX46" fmla="*/ 10457 w 11663"/>
              <a:gd name="connsiteY46" fmla="*/ 3591 h 10325"/>
              <a:gd name="connsiteX47" fmla="*/ 10562 w 11663"/>
              <a:gd name="connsiteY47" fmla="*/ 3487 h 10325"/>
              <a:gd name="connsiteX48" fmla="*/ 10670 w 11663"/>
              <a:gd name="connsiteY48" fmla="*/ 3378 h 10325"/>
              <a:gd name="connsiteX49" fmla="*/ 10770 w 11663"/>
              <a:gd name="connsiteY49" fmla="*/ 3259 h 10325"/>
              <a:gd name="connsiteX50" fmla="*/ 10873 w 11663"/>
              <a:gd name="connsiteY50" fmla="*/ 3132 h 10325"/>
              <a:gd name="connsiteX51" fmla="*/ 10973 w 11663"/>
              <a:gd name="connsiteY51" fmla="*/ 2999 h 10325"/>
              <a:gd name="connsiteX52" fmla="*/ 11070 w 11663"/>
              <a:gd name="connsiteY52" fmla="*/ 2857 h 10325"/>
              <a:gd name="connsiteX53" fmla="*/ 11169 w 11663"/>
              <a:gd name="connsiteY53" fmla="*/ 2703 h 10325"/>
              <a:gd name="connsiteX54" fmla="*/ 11266 w 11663"/>
              <a:gd name="connsiteY54" fmla="*/ 2537 h 10325"/>
              <a:gd name="connsiteX55" fmla="*/ 11363 w 11663"/>
              <a:gd name="connsiteY55" fmla="*/ 2366 h 10325"/>
              <a:gd name="connsiteX56" fmla="*/ 11462 w 11663"/>
              <a:gd name="connsiteY56" fmla="*/ 2185 h 10325"/>
              <a:gd name="connsiteX57" fmla="*/ 11562 w 11663"/>
              <a:gd name="connsiteY57" fmla="*/ 1987 h 10325"/>
              <a:gd name="connsiteX58" fmla="*/ 11663 w 11663"/>
              <a:gd name="connsiteY58" fmla="*/ 1781 h 10325"/>
              <a:gd name="connsiteX59" fmla="*/ 11663 w 11663"/>
              <a:gd name="connsiteY59" fmla="*/ 0 h 10325"/>
              <a:gd name="connsiteX60" fmla="*/ 1663 w 11663"/>
              <a:gd name="connsiteY60" fmla="*/ 22 h 10325"/>
              <a:gd name="connsiteX61" fmla="*/ 1682 w 11663"/>
              <a:gd name="connsiteY61" fmla="*/ 10323 h 10325"/>
              <a:gd name="connsiteX62" fmla="*/ 1713 w 11663"/>
              <a:gd name="connsiteY62" fmla="*/ 10000 h 10325"/>
              <a:gd name="connsiteX63" fmla="*/ 1713 w 11663"/>
              <a:gd name="connsiteY63" fmla="*/ 10000 h 10325"/>
              <a:gd name="connsiteX64" fmla="*/ 1739 w 11663"/>
              <a:gd name="connsiteY64" fmla="*/ 9797 h 10325"/>
              <a:gd name="connsiteX65" fmla="*/ 1774 w 11663"/>
              <a:gd name="connsiteY65" fmla="*/ 9583 h 10325"/>
              <a:gd name="connsiteX66" fmla="*/ 1810 w 11663"/>
              <a:gd name="connsiteY66" fmla="*/ 9385 h 10325"/>
              <a:gd name="connsiteX67" fmla="*/ 1855 w 11663"/>
              <a:gd name="connsiteY67" fmla="*/ 9182 h 10325"/>
              <a:gd name="connsiteX68" fmla="*/ 1855 w 11663"/>
              <a:gd name="connsiteY68" fmla="*/ 9182 h 10325"/>
              <a:gd name="connsiteX69" fmla="*/ 1894 w 11663"/>
              <a:gd name="connsiteY69" fmla="*/ 9043 h 10325"/>
              <a:gd name="connsiteX70" fmla="*/ 1930 w 11663"/>
              <a:gd name="connsiteY70" fmla="*/ 8909 h 10325"/>
              <a:gd name="connsiteX71" fmla="*/ 1972 w 11663"/>
              <a:gd name="connsiteY71" fmla="*/ 8780 h 10325"/>
              <a:gd name="connsiteX72" fmla="*/ 2013 w 11663"/>
              <a:gd name="connsiteY72" fmla="*/ 8648 h 10325"/>
              <a:gd name="connsiteX73" fmla="*/ 2060 w 11663"/>
              <a:gd name="connsiteY73" fmla="*/ 8519 h 10325"/>
              <a:gd name="connsiteX74" fmla="*/ 2107 w 11663"/>
              <a:gd name="connsiteY74" fmla="*/ 8400 h 10325"/>
              <a:gd name="connsiteX75" fmla="*/ 2160 w 11663"/>
              <a:gd name="connsiteY75" fmla="*/ 8276 h 10325"/>
              <a:gd name="connsiteX76" fmla="*/ 2214 w 11663"/>
              <a:gd name="connsiteY76" fmla="*/ 8155 h 10325"/>
              <a:gd name="connsiteX77" fmla="*/ 2271 w 11663"/>
              <a:gd name="connsiteY77" fmla="*/ 8036 h 10325"/>
              <a:gd name="connsiteX78" fmla="*/ 2334 w 11663"/>
              <a:gd name="connsiteY78" fmla="*/ 7919 h 10325"/>
              <a:gd name="connsiteX79" fmla="*/ 2398 w 11663"/>
              <a:gd name="connsiteY79" fmla="*/ 7808 h 10325"/>
              <a:gd name="connsiteX80" fmla="*/ 2464 w 11663"/>
              <a:gd name="connsiteY80" fmla="*/ 7698 h 10325"/>
              <a:gd name="connsiteX81" fmla="*/ 2533 w 11663"/>
              <a:gd name="connsiteY81" fmla="*/ 7587 h 10325"/>
              <a:gd name="connsiteX82" fmla="*/ 2606 w 11663"/>
              <a:gd name="connsiteY82" fmla="*/ 7485 h 10325"/>
              <a:gd name="connsiteX83" fmla="*/ 2681 w 11663"/>
              <a:gd name="connsiteY83" fmla="*/ 7383 h 10325"/>
              <a:gd name="connsiteX84" fmla="*/ 2760 w 11663"/>
              <a:gd name="connsiteY84" fmla="*/ 7282 h 10325"/>
              <a:gd name="connsiteX85" fmla="*/ 2760 w 11663"/>
              <a:gd name="connsiteY85" fmla="*/ 7282 h 10325"/>
              <a:gd name="connsiteX0" fmla="*/ 1101 w 10004"/>
              <a:gd name="connsiteY0" fmla="*/ 7282 h 10688"/>
              <a:gd name="connsiteX1" fmla="*/ 1101 w 10004"/>
              <a:gd name="connsiteY1" fmla="*/ 7282 h 10688"/>
              <a:gd name="connsiteX2" fmla="*/ 1179 w 10004"/>
              <a:gd name="connsiteY2" fmla="*/ 7190 h 10688"/>
              <a:gd name="connsiteX3" fmla="*/ 1259 w 10004"/>
              <a:gd name="connsiteY3" fmla="*/ 7098 h 10688"/>
              <a:gd name="connsiteX4" fmla="*/ 1337 w 10004"/>
              <a:gd name="connsiteY4" fmla="*/ 7011 h 10688"/>
              <a:gd name="connsiteX5" fmla="*/ 1415 w 10004"/>
              <a:gd name="connsiteY5" fmla="*/ 6930 h 10688"/>
              <a:gd name="connsiteX6" fmla="*/ 1498 w 10004"/>
              <a:gd name="connsiteY6" fmla="*/ 6850 h 10688"/>
              <a:gd name="connsiteX7" fmla="*/ 1576 w 10004"/>
              <a:gd name="connsiteY7" fmla="*/ 6773 h 10688"/>
              <a:gd name="connsiteX8" fmla="*/ 1658 w 10004"/>
              <a:gd name="connsiteY8" fmla="*/ 6699 h 10688"/>
              <a:gd name="connsiteX9" fmla="*/ 1741 w 10004"/>
              <a:gd name="connsiteY9" fmla="*/ 6625 h 10688"/>
              <a:gd name="connsiteX10" fmla="*/ 1826 w 10004"/>
              <a:gd name="connsiteY10" fmla="*/ 6555 h 10688"/>
              <a:gd name="connsiteX11" fmla="*/ 1907 w 10004"/>
              <a:gd name="connsiteY11" fmla="*/ 6491 h 10688"/>
              <a:gd name="connsiteX12" fmla="*/ 2074 w 10004"/>
              <a:gd name="connsiteY12" fmla="*/ 6362 h 10688"/>
              <a:gd name="connsiteX13" fmla="*/ 2247 w 10004"/>
              <a:gd name="connsiteY13" fmla="*/ 6250 h 10688"/>
              <a:gd name="connsiteX14" fmla="*/ 2420 w 10004"/>
              <a:gd name="connsiteY14" fmla="*/ 6138 h 10688"/>
              <a:gd name="connsiteX15" fmla="*/ 2594 w 10004"/>
              <a:gd name="connsiteY15" fmla="*/ 6039 h 10688"/>
              <a:gd name="connsiteX16" fmla="*/ 2774 w 10004"/>
              <a:gd name="connsiteY16" fmla="*/ 5945 h 10688"/>
              <a:gd name="connsiteX17" fmla="*/ 2954 w 10004"/>
              <a:gd name="connsiteY17" fmla="*/ 5856 h 10688"/>
              <a:gd name="connsiteX18" fmla="*/ 3136 w 10004"/>
              <a:gd name="connsiteY18" fmla="*/ 5774 h 10688"/>
              <a:gd name="connsiteX19" fmla="*/ 3320 w 10004"/>
              <a:gd name="connsiteY19" fmla="*/ 5694 h 10688"/>
              <a:gd name="connsiteX20" fmla="*/ 3505 w 10004"/>
              <a:gd name="connsiteY20" fmla="*/ 5620 h 10688"/>
              <a:gd name="connsiteX21" fmla="*/ 3691 w 10004"/>
              <a:gd name="connsiteY21" fmla="*/ 5543 h 10688"/>
              <a:gd name="connsiteX22" fmla="*/ 3883 w 10004"/>
              <a:gd name="connsiteY22" fmla="*/ 5474 h 10688"/>
              <a:gd name="connsiteX23" fmla="*/ 3883 w 10004"/>
              <a:gd name="connsiteY23" fmla="*/ 5474 h 10688"/>
              <a:gd name="connsiteX24" fmla="*/ 4095 w 10004"/>
              <a:gd name="connsiteY24" fmla="*/ 5399 h 10688"/>
              <a:gd name="connsiteX25" fmla="*/ 4310 w 10004"/>
              <a:gd name="connsiteY25" fmla="*/ 5330 h 10688"/>
              <a:gd name="connsiteX26" fmla="*/ 4520 w 10004"/>
              <a:gd name="connsiteY26" fmla="*/ 5260 h 10688"/>
              <a:gd name="connsiteX27" fmla="*/ 4734 w 10004"/>
              <a:gd name="connsiteY27" fmla="*/ 5198 h 10688"/>
              <a:gd name="connsiteX28" fmla="*/ 5157 w 10004"/>
              <a:gd name="connsiteY28" fmla="*/ 5077 h 10688"/>
              <a:gd name="connsiteX29" fmla="*/ 5575 w 10004"/>
              <a:gd name="connsiteY29" fmla="*/ 4963 h 10688"/>
              <a:gd name="connsiteX30" fmla="*/ 5563 w 10004"/>
              <a:gd name="connsiteY30" fmla="*/ 4963 h 10688"/>
              <a:gd name="connsiteX31" fmla="*/ 5563 w 10004"/>
              <a:gd name="connsiteY31" fmla="*/ 4963 h 10688"/>
              <a:gd name="connsiteX32" fmla="*/ 6442 w 10004"/>
              <a:gd name="connsiteY32" fmla="*/ 4705 h 10688"/>
              <a:gd name="connsiteX33" fmla="*/ 6830 w 10004"/>
              <a:gd name="connsiteY33" fmla="*/ 4586 h 10688"/>
              <a:gd name="connsiteX34" fmla="*/ 7184 w 10004"/>
              <a:gd name="connsiteY34" fmla="*/ 4474 h 10688"/>
              <a:gd name="connsiteX35" fmla="*/ 7350 w 10004"/>
              <a:gd name="connsiteY35" fmla="*/ 4410 h 10688"/>
              <a:gd name="connsiteX36" fmla="*/ 7508 w 10004"/>
              <a:gd name="connsiteY36" fmla="*/ 4350 h 10688"/>
              <a:gd name="connsiteX37" fmla="*/ 7662 w 10004"/>
              <a:gd name="connsiteY37" fmla="*/ 4288 h 10688"/>
              <a:gd name="connsiteX38" fmla="*/ 7808 w 10004"/>
              <a:gd name="connsiteY38" fmla="*/ 4229 h 10688"/>
              <a:gd name="connsiteX39" fmla="*/ 7946 w 10004"/>
              <a:gd name="connsiteY39" fmla="*/ 4159 h 10688"/>
              <a:gd name="connsiteX40" fmla="*/ 8082 w 10004"/>
              <a:gd name="connsiteY40" fmla="*/ 4090 h 10688"/>
              <a:gd name="connsiteX41" fmla="*/ 8210 w 10004"/>
              <a:gd name="connsiteY41" fmla="*/ 4020 h 10688"/>
              <a:gd name="connsiteX42" fmla="*/ 8336 w 10004"/>
              <a:gd name="connsiteY42" fmla="*/ 3943 h 10688"/>
              <a:gd name="connsiteX43" fmla="*/ 8456 w 10004"/>
              <a:gd name="connsiteY43" fmla="*/ 3864 h 10688"/>
              <a:gd name="connsiteX44" fmla="*/ 8574 w 10004"/>
              <a:gd name="connsiteY44" fmla="*/ 3775 h 10688"/>
              <a:gd name="connsiteX45" fmla="*/ 8687 w 10004"/>
              <a:gd name="connsiteY45" fmla="*/ 3688 h 10688"/>
              <a:gd name="connsiteX46" fmla="*/ 8798 w 10004"/>
              <a:gd name="connsiteY46" fmla="*/ 3591 h 10688"/>
              <a:gd name="connsiteX47" fmla="*/ 8903 w 10004"/>
              <a:gd name="connsiteY47" fmla="*/ 3487 h 10688"/>
              <a:gd name="connsiteX48" fmla="*/ 9011 w 10004"/>
              <a:gd name="connsiteY48" fmla="*/ 3378 h 10688"/>
              <a:gd name="connsiteX49" fmla="*/ 9111 w 10004"/>
              <a:gd name="connsiteY49" fmla="*/ 3259 h 10688"/>
              <a:gd name="connsiteX50" fmla="*/ 9214 w 10004"/>
              <a:gd name="connsiteY50" fmla="*/ 3132 h 10688"/>
              <a:gd name="connsiteX51" fmla="*/ 9314 w 10004"/>
              <a:gd name="connsiteY51" fmla="*/ 2999 h 10688"/>
              <a:gd name="connsiteX52" fmla="*/ 9411 w 10004"/>
              <a:gd name="connsiteY52" fmla="*/ 2857 h 10688"/>
              <a:gd name="connsiteX53" fmla="*/ 9510 w 10004"/>
              <a:gd name="connsiteY53" fmla="*/ 2703 h 10688"/>
              <a:gd name="connsiteX54" fmla="*/ 9607 w 10004"/>
              <a:gd name="connsiteY54" fmla="*/ 2537 h 10688"/>
              <a:gd name="connsiteX55" fmla="*/ 9704 w 10004"/>
              <a:gd name="connsiteY55" fmla="*/ 2366 h 10688"/>
              <a:gd name="connsiteX56" fmla="*/ 9803 w 10004"/>
              <a:gd name="connsiteY56" fmla="*/ 2185 h 10688"/>
              <a:gd name="connsiteX57" fmla="*/ 9903 w 10004"/>
              <a:gd name="connsiteY57" fmla="*/ 1987 h 10688"/>
              <a:gd name="connsiteX58" fmla="*/ 10004 w 10004"/>
              <a:gd name="connsiteY58" fmla="*/ 1781 h 10688"/>
              <a:gd name="connsiteX59" fmla="*/ 10004 w 10004"/>
              <a:gd name="connsiteY59" fmla="*/ 0 h 10688"/>
              <a:gd name="connsiteX60" fmla="*/ 4 w 10004"/>
              <a:gd name="connsiteY60" fmla="*/ 22 h 10688"/>
              <a:gd name="connsiteX61" fmla="*/ 23 w 10004"/>
              <a:gd name="connsiteY61" fmla="*/ 10323 h 10688"/>
              <a:gd name="connsiteX62" fmla="*/ 54 w 10004"/>
              <a:gd name="connsiteY62" fmla="*/ 10000 h 10688"/>
              <a:gd name="connsiteX63" fmla="*/ 54 w 10004"/>
              <a:gd name="connsiteY63" fmla="*/ 10000 h 10688"/>
              <a:gd name="connsiteX64" fmla="*/ 80 w 10004"/>
              <a:gd name="connsiteY64" fmla="*/ 9797 h 10688"/>
              <a:gd name="connsiteX65" fmla="*/ 115 w 10004"/>
              <a:gd name="connsiteY65" fmla="*/ 9583 h 10688"/>
              <a:gd name="connsiteX66" fmla="*/ 151 w 10004"/>
              <a:gd name="connsiteY66" fmla="*/ 9385 h 10688"/>
              <a:gd name="connsiteX67" fmla="*/ 196 w 10004"/>
              <a:gd name="connsiteY67" fmla="*/ 9182 h 10688"/>
              <a:gd name="connsiteX68" fmla="*/ 196 w 10004"/>
              <a:gd name="connsiteY68" fmla="*/ 9182 h 10688"/>
              <a:gd name="connsiteX69" fmla="*/ 235 w 10004"/>
              <a:gd name="connsiteY69" fmla="*/ 9043 h 10688"/>
              <a:gd name="connsiteX70" fmla="*/ 271 w 10004"/>
              <a:gd name="connsiteY70" fmla="*/ 8909 h 10688"/>
              <a:gd name="connsiteX71" fmla="*/ 313 w 10004"/>
              <a:gd name="connsiteY71" fmla="*/ 8780 h 10688"/>
              <a:gd name="connsiteX72" fmla="*/ 354 w 10004"/>
              <a:gd name="connsiteY72" fmla="*/ 8648 h 10688"/>
              <a:gd name="connsiteX73" fmla="*/ 401 w 10004"/>
              <a:gd name="connsiteY73" fmla="*/ 8519 h 10688"/>
              <a:gd name="connsiteX74" fmla="*/ 448 w 10004"/>
              <a:gd name="connsiteY74" fmla="*/ 8400 h 10688"/>
              <a:gd name="connsiteX75" fmla="*/ 501 w 10004"/>
              <a:gd name="connsiteY75" fmla="*/ 8276 h 10688"/>
              <a:gd name="connsiteX76" fmla="*/ 555 w 10004"/>
              <a:gd name="connsiteY76" fmla="*/ 8155 h 10688"/>
              <a:gd name="connsiteX77" fmla="*/ 612 w 10004"/>
              <a:gd name="connsiteY77" fmla="*/ 8036 h 10688"/>
              <a:gd name="connsiteX78" fmla="*/ 675 w 10004"/>
              <a:gd name="connsiteY78" fmla="*/ 7919 h 10688"/>
              <a:gd name="connsiteX79" fmla="*/ 739 w 10004"/>
              <a:gd name="connsiteY79" fmla="*/ 7808 h 10688"/>
              <a:gd name="connsiteX80" fmla="*/ 805 w 10004"/>
              <a:gd name="connsiteY80" fmla="*/ 7698 h 10688"/>
              <a:gd name="connsiteX81" fmla="*/ 874 w 10004"/>
              <a:gd name="connsiteY81" fmla="*/ 7587 h 10688"/>
              <a:gd name="connsiteX82" fmla="*/ 947 w 10004"/>
              <a:gd name="connsiteY82" fmla="*/ 7485 h 10688"/>
              <a:gd name="connsiteX83" fmla="*/ 1022 w 10004"/>
              <a:gd name="connsiteY83" fmla="*/ 7383 h 10688"/>
              <a:gd name="connsiteX84" fmla="*/ 1101 w 10004"/>
              <a:gd name="connsiteY84" fmla="*/ 7282 h 10688"/>
              <a:gd name="connsiteX85" fmla="*/ 1101 w 10004"/>
              <a:gd name="connsiteY85" fmla="*/ 7282 h 10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0004" h="10688">
                <a:moveTo>
                  <a:pt x="1101" y="7282"/>
                </a:moveTo>
                <a:lnTo>
                  <a:pt x="1101" y="7282"/>
                </a:lnTo>
                <a:cubicBezTo>
                  <a:pt x="1127" y="7251"/>
                  <a:pt x="1153" y="7221"/>
                  <a:pt x="1179" y="7190"/>
                </a:cubicBezTo>
                <a:lnTo>
                  <a:pt x="1259" y="7098"/>
                </a:lnTo>
                <a:lnTo>
                  <a:pt x="1337" y="7011"/>
                </a:lnTo>
                <a:lnTo>
                  <a:pt x="1415" y="6930"/>
                </a:lnTo>
                <a:lnTo>
                  <a:pt x="1498" y="6850"/>
                </a:lnTo>
                <a:cubicBezTo>
                  <a:pt x="1524" y="6824"/>
                  <a:pt x="1550" y="6799"/>
                  <a:pt x="1576" y="6773"/>
                </a:cubicBezTo>
                <a:cubicBezTo>
                  <a:pt x="1603" y="6748"/>
                  <a:pt x="1631" y="6724"/>
                  <a:pt x="1658" y="6699"/>
                </a:cubicBezTo>
                <a:lnTo>
                  <a:pt x="1741" y="6625"/>
                </a:lnTo>
                <a:lnTo>
                  <a:pt x="1826" y="6555"/>
                </a:lnTo>
                <a:cubicBezTo>
                  <a:pt x="1853" y="6534"/>
                  <a:pt x="1880" y="6512"/>
                  <a:pt x="1907" y="6491"/>
                </a:cubicBezTo>
                <a:lnTo>
                  <a:pt x="2074" y="6362"/>
                </a:lnTo>
                <a:lnTo>
                  <a:pt x="2247" y="6250"/>
                </a:lnTo>
                <a:lnTo>
                  <a:pt x="2420" y="6138"/>
                </a:lnTo>
                <a:lnTo>
                  <a:pt x="2594" y="6039"/>
                </a:lnTo>
                <a:lnTo>
                  <a:pt x="2774" y="5945"/>
                </a:lnTo>
                <a:lnTo>
                  <a:pt x="2954" y="5856"/>
                </a:lnTo>
                <a:lnTo>
                  <a:pt x="3136" y="5774"/>
                </a:lnTo>
                <a:lnTo>
                  <a:pt x="3320" y="5694"/>
                </a:lnTo>
                <a:lnTo>
                  <a:pt x="3505" y="5620"/>
                </a:lnTo>
                <a:lnTo>
                  <a:pt x="3691" y="5543"/>
                </a:lnTo>
                <a:lnTo>
                  <a:pt x="3883" y="5474"/>
                </a:lnTo>
                <a:lnTo>
                  <a:pt x="3883" y="5474"/>
                </a:lnTo>
                <a:lnTo>
                  <a:pt x="4095" y="5399"/>
                </a:lnTo>
                <a:lnTo>
                  <a:pt x="4310" y="5330"/>
                </a:lnTo>
                <a:lnTo>
                  <a:pt x="4520" y="5260"/>
                </a:lnTo>
                <a:lnTo>
                  <a:pt x="4734" y="5198"/>
                </a:lnTo>
                <a:lnTo>
                  <a:pt x="5157" y="5077"/>
                </a:lnTo>
                <a:lnTo>
                  <a:pt x="5575" y="4963"/>
                </a:lnTo>
                <a:lnTo>
                  <a:pt x="5563" y="4963"/>
                </a:lnTo>
                <a:lnTo>
                  <a:pt x="5563" y="4963"/>
                </a:lnTo>
                <a:lnTo>
                  <a:pt x="6442" y="4705"/>
                </a:lnTo>
                <a:lnTo>
                  <a:pt x="6830" y="4586"/>
                </a:lnTo>
                <a:lnTo>
                  <a:pt x="7184" y="4474"/>
                </a:lnTo>
                <a:lnTo>
                  <a:pt x="7350" y="4410"/>
                </a:lnTo>
                <a:lnTo>
                  <a:pt x="7508" y="4350"/>
                </a:lnTo>
                <a:lnTo>
                  <a:pt x="7662" y="4288"/>
                </a:lnTo>
                <a:lnTo>
                  <a:pt x="7808" y="4229"/>
                </a:lnTo>
                <a:lnTo>
                  <a:pt x="7946" y="4159"/>
                </a:lnTo>
                <a:lnTo>
                  <a:pt x="8082" y="4090"/>
                </a:lnTo>
                <a:cubicBezTo>
                  <a:pt x="8125" y="4067"/>
                  <a:pt x="8167" y="4043"/>
                  <a:pt x="8210" y="4020"/>
                </a:cubicBezTo>
                <a:lnTo>
                  <a:pt x="8336" y="3943"/>
                </a:lnTo>
                <a:lnTo>
                  <a:pt x="8456" y="3864"/>
                </a:lnTo>
                <a:cubicBezTo>
                  <a:pt x="8495" y="3834"/>
                  <a:pt x="8535" y="3805"/>
                  <a:pt x="8574" y="3775"/>
                </a:cubicBezTo>
                <a:lnTo>
                  <a:pt x="8687" y="3688"/>
                </a:lnTo>
                <a:lnTo>
                  <a:pt x="8798" y="3591"/>
                </a:lnTo>
                <a:lnTo>
                  <a:pt x="8903" y="3487"/>
                </a:lnTo>
                <a:lnTo>
                  <a:pt x="9011" y="3378"/>
                </a:lnTo>
                <a:cubicBezTo>
                  <a:pt x="9044" y="3338"/>
                  <a:pt x="9078" y="3299"/>
                  <a:pt x="9111" y="3259"/>
                </a:cubicBezTo>
                <a:lnTo>
                  <a:pt x="9214" y="3132"/>
                </a:lnTo>
                <a:lnTo>
                  <a:pt x="9314" y="2999"/>
                </a:lnTo>
                <a:lnTo>
                  <a:pt x="9411" y="2857"/>
                </a:lnTo>
                <a:cubicBezTo>
                  <a:pt x="9444" y="2806"/>
                  <a:pt x="9477" y="2754"/>
                  <a:pt x="9510" y="2703"/>
                </a:cubicBezTo>
                <a:lnTo>
                  <a:pt x="9607" y="2537"/>
                </a:lnTo>
                <a:cubicBezTo>
                  <a:pt x="9639" y="2480"/>
                  <a:pt x="9672" y="2423"/>
                  <a:pt x="9704" y="2366"/>
                </a:cubicBezTo>
                <a:cubicBezTo>
                  <a:pt x="9737" y="2306"/>
                  <a:pt x="9770" y="2245"/>
                  <a:pt x="9803" y="2185"/>
                </a:cubicBezTo>
                <a:cubicBezTo>
                  <a:pt x="9836" y="2119"/>
                  <a:pt x="9870" y="2053"/>
                  <a:pt x="9903" y="1987"/>
                </a:cubicBezTo>
                <a:cubicBezTo>
                  <a:pt x="9937" y="1918"/>
                  <a:pt x="9970" y="1850"/>
                  <a:pt x="10004" y="1781"/>
                </a:cubicBezTo>
                <a:lnTo>
                  <a:pt x="10004" y="0"/>
                </a:lnTo>
                <a:lnTo>
                  <a:pt x="4" y="22"/>
                </a:lnTo>
                <a:cubicBezTo>
                  <a:pt x="0" y="10688"/>
                  <a:pt x="15" y="8660"/>
                  <a:pt x="23" y="10323"/>
                </a:cubicBezTo>
                <a:cubicBezTo>
                  <a:pt x="30" y="10325"/>
                  <a:pt x="47" y="9998"/>
                  <a:pt x="54" y="10000"/>
                </a:cubicBezTo>
                <a:lnTo>
                  <a:pt x="54" y="10000"/>
                </a:lnTo>
                <a:cubicBezTo>
                  <a:pt x="63" y="9932"/>
                  <a:pt x="71" y="9865"/>
                  <a:pt x="80" y="9797"/>
                </a:cubicBezTo>
                <a:cubicBezTo>
                  <a:pt x="92" y="9726"/>
                  <a:pt x="103" y="9654"/>
                  <a:pt x="115" y="9583"/>
                </a:cubicBezTo>
                <a:lnTo>
                  <a:pt x="151" y="9385"/>
                </a:lnTo>
                <a:cubicBezTo>
                  <a:pt x="166" y="9317"/>
                  <a:pt x="181" y="9250"/>
                  <a:pt x="196" y="9182"/>
                </a:cubicBezTo>
                <a:lnTo>
                  <a:pt x="196" y="9182"/>
                </a:lnTo>
                <a:cubicBezTo>
                  <a:pt x="209" y="9136"/>
                  <a:pt x="222" y="9089"/>
                  <a:pt x="235" y="9043"/>
                </a:cubicBezTo>
                <a:cubicBezTo>
                  <a:pt x="247" y="8998"/>
                  <a:pt x="259" y="8954"/>
                  <a:pt x="271" y="8909"/>
                </a:cubicBezTo>
                <a:lnTo>
                  <a:pt x="313" y="8780"/>
                </a:lnTo>
                <a:cubicBezTo>
                  <a:pt x="327" y="8736"/>
                  <a:pt x="340" y="8692"/>
                  <a:pt x="354" y="8648"/>
                </a:cubicBezTo>
                <a:cubicBezTo>
                  <a:pt x="370" y="8605"/>
                  <a:pt x="385" y="8562"/>
                  <a:pt x="401" y="8519"/>
                </a:cubicBezTo>
                <a:cubicBezTo>
                  <a:pt x="417" y="8479"/>
                  <a:pt x="432" y="8440"/>
                  <a:pt x="448" y="8400"/>
                </a:cubicBezTo>
                <a:cubicBezTo>
                  <a:pt x="466" y="8359"/>
                  <a:pt x="483" y="8317"/>
                  <a:pt x="501" y="8276"/>
                </a:cubicBezTo>
                <a:cubicBezTo>
                  <a:pt x="519" y="8236"/>
                  <a:pt x="537" y="8195"/>
                  <a:pt x="555" y="8155"/>
                </a:cubicBezTo>
                <a:cubicBezTo>
                  <a:pt x="574" y="8115"/>
                  <a:pt x="593" y="8076"/>
                  <a:pt x="612" y="8036"/>
                </a:cubicBezTo>
                <a:lnTo>
                  <a:pt x="675" y="7919"/>
                </a:lnTo>
                <a:cubicBezTo>
                  <a:pt x="696" y="7882"/>
                  <a:pt x="718" y="7845"/>
                  <a:pt x="739" y="7808"/>
                </a:cubicBezTo>
                <a:cubicBezTo>
                  <a:pt x="761" y="7771"/>
                  <a:pt x="783" y="7735"/>
                  <a:pt x="805" y="7698"/>
                </a:cubicBezTo>
                <a:lnTo>
                  <a:pt x="874" y="7587"/>
                </a:lnTo>
                <a:cubicBezTo>
                  <a:pt x="898" y="7553"/>
                  <a:pt x="923" y="7519"/>
                  <a:pt x="947" y="7485"/>
                </a:cubicBezTo>
                <a:lnTo>
                  <a:pt x="1022" y="7383"/>
                </a:lnTo>
                <a:cubicBezTo>
                  <a:pt x="1048" y="7349"/>
                  <a:pt x="1075" y="7316"/>
                  <a:pt x="1101" y="7282"/>
                </a:cubicBezTo>
                <a:lnTo>
                  <a:pt x="1101" y="7282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kern="1200" dirty="0">
              <a:solidFill>
                <a:schemeClr val="tx1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5" name="Rectangle 8"/>
          <p:cNvSpPr>
            <a:spLocks noChangeArrowheads="1"/>
          </p:cNvSpPr>
          <p:nvPr userDrawn="1"/>
        </p:nvSpPr>
        <p:spPr bwMode="auto">
          <a:xfrm>
            <a:off x="5135833" y="5376352"/>
            <a:ext cx="40081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 smtClean="0">
                <a:solidFill>
                  <a:schemeClr val="bg1"/>
                </a:solidFill>
                <a:latin typeface="Calibri" pitchFamily="34" charset="0"/>
              </a:rPr>
              <a:t>www.capgemini.com/financialservices </a:t>
            </a:r>
            <a:endParaRPr lang="en-US" sz="1800" b="0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6" name="Picture 9" descr="OK_Capgemini"/>
          <p:cNvPicPr>
            <a:picLocks noChangeAspect="1" noChangeArrowheads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26933" y="922008"/>
            <a:ext cx="4317023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 userDrawn="1"/>
        </p:nvSpPr>
        <p:spPr>
          <a:xfrm>
            <a:off x="0" y="6597652"/>
            <a:ext cx="9144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Copyright ©2012 Capgemini. All rights reserved.</a:t>
            </a:r>
          </a:p>
        </p:txBody>
      </p:sp>
      <p:pic>
        <p:nvPicPr>
          <p:cNvPr id="18" name="Image 8" descr="Capgemini_Slogan_White.png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5368958" y="4856255"/>
            <a:ext cx="3511304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60990738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47582" y="6587490"/>
            <a:ext cx="2469389" cy="21544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he information contained in this presentation is proprietary. Copyright ©2012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769351" y="6531456"/>
            <a:ext cx="218291" cy="130805"/>
          </a:xfrm>
          <a:prstGeom prst="rect">
            <a:avLst/>
          </a:prstGeom>
        </p:spPr>
        <p:txBody>
          <a:bodyPr/>
          <a:lstStyle/>
          <a:p>
            <a:fld id="{F4147050-0161-4A8B-8C65-9431945EA0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2250087" y="119655"/>
            <a:ext cx="6705446" cy="642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44492797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69927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441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5368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73125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02625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2640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28256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8546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8210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71600" y="2132856"/>
            <a:ext cx="64807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6000" dirty="0" smtClean="0"/>
              <a:t>RELEASE PROCESS</a:t>
            </a:r>
            <a:endParaRPr lang="en-IN" sz="6000" dirty="0"/>
          </a:p>
        </p:txBody>
      </p:sp>
      <p:sp>
        <p:nvSpPr>
          <p:cNvPr id="3" name="TextBox 2"/>
          <p:cNvSpPr txBox="1"/>
          <p:nvPr/>
        </p:nvSpPr>
        <p:spPr>
          <a:xfrm>
            <a:off x="5292080" y="5805264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err="1" smtClean="0"/>
              <a:t>Neha</a:t>
            </a:r>
            <a:r>
              <a:rPr lang="en-IN" dirty="0" smtClean="0"/>
              <a:t> </a:t>
            </a:r>
            <a:r>
              <a:rPr lang="en-IN" dirty="0" err="1" smtClean="0"/>
              <a:t>Gani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6382221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7" descr="branding-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891338" y="2636912"/>
            <a:ext cx="31928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MO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02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val="3251303258"/>
              </p:ext>
            </p:extLst>
          </p:nvPr>
        </p:nvGraphicFramePr>
        <p:xfrm>
          <a:off x="1115616" y="750429"/>
          <a:ext cx="7080448" cy="4984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3299520" y="3054685"/>
            <a:ext cx="3024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 smtClean="0"/>
              <a:t>AGILE DEVELOPMENT</a:t>
            </a:r>
            <a:endParaRPr lang="en-IN" sz="2400" dirty="0"/>
          </a:p>
        </p:txBody>
      </p:sp>
      <p:grpSp>
        <p:nvGrpSpPr>
          <p:cNvPr id="41" name="Group 40"/>
          <p:cNvGrpSpPr/>
          <p:nvPr/>
        </p:nvGrpSpPr>
        <p:grpSpPr>
          <a:xfrm>
            <a:off x="2843808" y="697084"/>
            <a:ext cx="1224136" cy="1172681"/>
            <a:chOff x="1892490" y="11511"/>
            <a:chExt cx="1019888" cy="1019888"/>
          </a:xfrm>
        </p:grpSpPr>
        <p:sp>
          <p:nvSpPr>
            <p:cNvPr id="42" name="Rectangle 41"/>
            <p:cNvSpPr/>
            <p:nvPr/>
          </p:nvSpPr>
          <p:spPr>
            <a:xfrm>
              <a:off x="1892490" y="11511"/>
              <a:ext cx="1019888" cy="1019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1892490" y="11511"/>
              <a:ext cx="1019888" cy="10198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300" kern="1200" dirty="0" smtClean="0"/>
                <a:t>Requirements’  Gathering</a:t>
              </a:r>
              <a:endParaRPr lang="en-IN" sz="1300" kern="1200" dirty="0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5615866" y="978625"/>
            <a:ext cx="1920238" cy="2816836"/>
            <a:chOff x="5305857" y="1982219"/>
            <a:chExt cx="1920238" cy="2816836"/>
          </a:xfrm>
        </p:grpSpPr>
        <p:sp>
          <p:nvSpPr>
            <p:cNvPr id="45" name="Rectangle 44"/>
            <p:cNvSpPr/>
            <p:nvPr/>
          </p:nvSpPr>
          <p:spPr>
            <a:xfrm>
              <a:off x="5305857" y="1982219"/>
              <a:ext cx="1019888" cy="101988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Rectangle 45"/>
            <p:cNvSpPr/>
            <p:nvPr/>
          </p:nvSpPr>
          <p:spPr>
            <a:xfrm>
              <a:off x="6206207" y="3779167"/>
              <a:ext cx="1019888" cy="10198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300" kern="1200" dirty="0" smtClean="0"/>
                <a:t>Design</a:t>
              </a:r>
              <a:endParaRPr lang="en-IN" sz="1300" kern="1200" dirty="0"/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4595978" y="2920345"/>
            <a:ext cx="1747609" cy="2789018"/>
            <a:chOff x="4168068" y="3952927"/>
            <a:chExt cx="1747609" cy="2789018"/>
          </a:xfrm>
        </p:grpSpPr>
        <p:sp>
          <p:nvSpPr>
            <p:cNvPr id="48" name="Rectangle 47"/>
            <p:cNvSpPr/>
            <p:nvPr/>
          </p:nvSpPr>
          <p:spPr>
            <a:xfrm>
              <a:off x="4168068" y="3952927"/>
              <a:ext cx="1019888" cy="101988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Rectangle 48"/>
            <p:cNvSpPr/>
            <p:nvPr/>
          </p:nvSpPr>
          <p:spPr>
            <a:xfrm>
              <a:off x="4895789" y="5722057"/>
              <a:ext cx="1019888" cy="10198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300" kern="1200" dirty="0" smtClean="0"/>
                <a:t>Development</a:t>
              </a:r>
              <a:endParaRPr lang="en-IN" sz="1300" kern="1200" dirty="0"/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1691680" y="1283425"/>
            <a:ext cx="2620832" cy="2373375"/>
            <a:chOff x="-846243" y="1982219"/>
            <a:chExt cx="2620832" cy="2373375"/>
          </a:xfrm>
        </p:grpSpPr>
        <p:sp>
          <p:nvSpPr>
            <p:cNvPr id="51" name="Rectangle 50"/>
            <p:cNvSpPr/>
            <p:nvPr/>
          </p:nvSpPr>
          <p:spPr>
            <a:xfrm>
              <a:off x="754701" y="1982219"/>
              <a:ext cx="1019888" cy="101988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2" name="Rectangle 51"/>
            <p:cNvSpPr/>
            <p:nvPr/>
          </p:nvSpPr>
          <p:spPr>
            <a:xfrm>
              <a:off x="-846243" y="3335706"/>
              <a:ext cx="1019888" cy="10198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300" kern="1200" dirty="0" smtClean="0"/>
                <a:t>Track, Monitor</a:t>
              </a:r>
              <a:endParaRPr lang="en-IN" sz="1300" kern="1200" dirty="0"/>
            </a:p>
          </p:txBody>
        </p:sp>
      </p:grpSp>
      <p:sp>
        <p:nvSpPr>
          <p:cNvPr id="53" name="Rectangle 52"/>
          <p:cNvSpPr/>
          <p:nvPr/>
        </p:nvSpPr>
        <p:spPr>
          <a:xfrm>
            <a:off x="5220072" y="778282"/>
            <a:ext cx="1019888" cy="101988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300" kern="1200" dirty="0" smtClean="0"/>
              <a:t>Planning</a:t>
            </a:r>
            <a:endParaRPr lang="en-IN" sz="1300" kern="1200" dirty="0"/>
          </a:p>
        </p:txBody>
      </p:sp>
      <p:sp>
        <p:nvSpPr>
          <p:cNvPr id="54" name="Rectangle 53"/>
          <p:cNvSpPr/>
          <p:nvPr/>
        </p:nvSpPr>
        <p:spPr>
          <a:xfrm>
            <a:off x="3048056" y="4672128"/>
            <a:ext cx="1019888" cy="101988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300" kern="1200" dirty="0" smtClean="0"/>
              <a:t>Release</a:t>
            </a:r>
            <a:endParaRPr lang="en-IN" sz="1300" kern="1200" dirty="0"/>
          </a:p>
        </p:txBody>
      </p:sp>
      <p:sp>
        <p:nvSpPr>
          <p:cNvPr id="56" name="Rectangle 55"/>
          <p:cNvSpPr/>
          <p:nvPr/>
        </p:nvSpPr>
        <p:spPr>
          <a:xfrm>
            <a:off x="180497" y="264207"/>
            <a:ext cx="4192254" cy="2758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Requirements’ Gathering</a:t>
            </a:r>
          </a:p>
          <a:p>
            <a:pPr algn="ctr"/>
            <a:r>
              <a:rPr lang="en-IN" dirty="0" smtClean="0"/>
              <a:t>Planning	</a:t>
            </a:r>
            <a:endParaRPr lang="en-IN" dirty="0"/>
          </a:p>
        </p:txBody>
      </p:sp>
      <p:sp>
        <p:nvSpPr>
          <p:cNvPr id="57" name="Rectangle 56"/>
          <p:cNvSpPr/>
          <p:nvPr/>
        </p:nvSpPr>
        <p:spPr>
          <a:xfrm>
            <a:off x="326738" y="896622"/>
            <a:ext cx="3899771" cy="202832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Raising of User stories in </a:t>
            </a:r>
            <a:r>
              <a:rPr lang="en-IN" sz="1600" b="1" u="sng" dirty="0" smtClean="0"/>
              <a:t>Confluenc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Acceptance Criteria, using </a:t>
            </a:r>
            <a:r>
              <a:rPr lang="en-IN" sz="1600" b="1" u="sng" dirty="0" err="1" smtClean="0"/>
              <a:t>JBehave</a:t>
            </a:r>
            <a:r>
              <a:rPr lang="en-IN" sz="1600" u="sng" dirty="0" smtClean="0"/>
              <a:t> </a:t>
            </a:r>
            <a:r>
              <a:rPr lang="en-IN" sz="1600" dirty="0" smtClean="0"/>
              <a:t>for autom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re planning (if required), re-writing/defining scop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lanning (</a:t>
            </a:r>
            <a:r>
              <a:rPr lang="en-IN" sz="1600" b="1" u="sng" dirty="0" smtClean="0"/>
              <a:t>Planning Poker</a:t>
            </a:r>
            <a:r>
              <a:rPr lang="en-IN" sz="1600" dirty="0" smtClean="0"/>
              <a:t>, points based or capacity based)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860032" y="346584"/>
            <a:ext cx="4032448" cy="26760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Design </a:t>
            </a:r>
          </a:p>
          <a:p>
            <a:pPr algn="ctr"/>
            <a:r>
              <a:rPr lang="en-IN" dirty="0" smtClean="0"/>
              <a:t>Development</a:t>
            </a:r>
            <a:endParaRPr lang="en-IN" dirty="0"/>
          </a:p>
        </p:txBody>
      </p:sp>
      <p:sp>
        <p:nvSpPr>
          <p:cNvPr id="60" name="Rectangle 59"/>
          <p:cNvSpPr/>
          <p:nvPr/>
        </p:nvSpPr>
        <p:spPr>
          <a:xfrm>
            <a:off x="5076057" y="1146407"/>
            <a:ext cx="3641100" cy="17785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Development – </a:t>
            </a:r>
            <a:r>
              <a:rPr lang="en-IN" sz="1600" b="1" u="sng" dirty="0" err="1">
                <a:solidFill>
                  <a:prstClr val="white"/>
                </a:solidFill>
              </a:rPr>
              <a:t>SpringBoot</a:t>
            </a:r>
            <a:r>
              <a:rPr lang="en-IN" sz="1600" b="1" u="sng" dirty="0">
                <a:solidFill>
                  <a:prstClr val="white"/>
                </a:solidFill>
              </a:rPr>
              <a:t>, Angular 4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Commit - </a:t>
            </a:r>
            <a:r>
              <a:rPr lang="en-IN" sz="1600" b="1" u="sng" dirty="0" err="1">
                <a:solidFill>
                  <a:prstClr val="white"/>
                </a:solidFill>
              </a:rPr>
              <a:t>GITLab</a:t>
            </a:r>
            <a:endParaRPr lang="en-IN" sz="1600" b="1" u="sng" dirty="0">
              <a:solidFill>
                <a:prstClr val="white"/>
              </a:solidFill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Unit/Integration Test Cases – </a:t>
            </a:r>
            <a:r>
              <a:rPr lang="en-IN" sz="1600" b="1" u="sng" dirty="0">
                <a:solidFill>
                  <a:prstClr val="white"/>
                </a:solidFill>
              </a:rPr>
              <a:t>Karma, </a:t>
            </a:r>
            <a:r>
              <a:rPr lang="en-IN" sz="1600" b="1" u="sng" dirty="0" err="1">
                <a:solidFill>
                  <a:prstClr val="white"/>
                </a:solidFill>
              </a:rPr>
              <a:t>Mockito</a:t>
            </a:r>
            <a:endParaRPr lang="en-IN" sz="1600" b="1" u="sng" dirty="0">
              <a:solidFill>
                <a:prstClr val="white"/>
              </a:solidFill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Build – </a:t>
            </a:r>
            <a:r>
              <a:rPr lang="en-IN" sz="1600" b="1" u="sng" dirty="0">
                <a:solidFill>
                  <a:prstClr val="white"/>
                </a:solidFill>
              </a:rPr>
              <a:t>Maven</a:t>
            </a:r>
            <a:r>
              <a:rPr lang="en-IN" sz="1600" dirty="0">
                <a:solidFill>
                  <a:prstClr val="white"/>
                </a:solidFill>
              </a:rPr>
              <a:t> (Triggered by commits)</a:t>
            </a:r>
          </a:p>
        </p:txBody>
      </p:sp>
      <p:sp>
        <p:nvSpPr>
          <p:cNvPr id="62" name="Rectangle 61"/>
          <p:cNvSpPr/>
          <p:nvPr/>
        </p:nvSpPr>
        <p:spPr>
          <a:xfrm>
            <a:off x="1532564" y="3295824"/>
            <a:ext cx="6003540" cy="3420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PAAS – PCF Release/Track/Monitor</a:t>
            </a:r>
            <a:endParaRPr lang="en-IN" dirty="0"/>
          </a:p>
        </p:txBody>
      </p:sp>
      <p:sp>
        <p:nvSpPr>
          <p:cNvPr id="63" name="Rectangle 62"/>
          <p:cNvSpPr/>
          <p:nvPr/>
        </p:nvSpPr>
        <p:spPr>
          <a:xfrm>
            <a:off x="1952899" y="3799880"/>
            <a:ext cx="5196918" cy="27641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ICD - Deployment till Pre PROD - </a:t>
            </a:r>
            <a:r>
              <a:rPr lang="en-IN" b="1" u="sng" dirty="0" smtClean="0"/>
              <a:t>Jenki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Unit/Integration Test Cas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Sonar</a:t>
            </a:r>
            <a:r>
              <a:rPr lang="en-IN" dirty="0" smtClean="0"/>
              <a:t> Test coverage and Code vulnerabilities, Bug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Fortify </a:t>
            </a:r>
            <a:r>
              <a:rPr lang="en-IN" dirty="0" smtClean="0"/>
              <a:t>Security and Code Vulnerabilitie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lean Up and Deploy (Blue Green deployments with 0 downtime) - </a:t>
            </a:r>
            <a:r>
              <a:rPr lang="en-IN" b="1" u="sng" dirty="0" smtClean="0"/>
              <a:t>PCF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Automation test cases (Sign Off required or no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Performance/Load testing - </a:t>
            </a:r>
            <a:r>
              <a:rPr lang="en-IN" b="1" u="sng" dirty="0" err="1" smtClean="0"/>
              <a:t>jMeter</a:t>
            </a:r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2572734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952 0.05598 L 0.25833 0.18182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892" y="6292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2.75966E-6 L -0.14549 -0.11751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274" y="-5876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1.20287E-6 L -0.37847 -0.0761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924" y="-3817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222 0.12051 L 0.05642 -0.23618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24" y="-17835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997 0.10178 L 0.1776 -0.52787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82" y="-3148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1.22831E-6 L 0.07952 -0.15036 " pathEditMode="relative" rAng="0" ptsTypes="AA">
                                      <p:cBhvr>
                                        <p:cTn id="35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76" y="-75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3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53" presetClass="exit" presetSubtype="32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53" presetClass="exit" presetSubtype="32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3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5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3" grpId="0">
        <p:bldAsOne/>
      </p:bldGraphic>
      <p:bldGraphic spid="33" grpId="1">
        <p:bldAsOne/>
      </p:bldGraphic>
      <p:bldP spid="34" grpId="0"/>
      <p:bldP spid="53" grpId="0"/>
      <p:bldP spid="53" grpId="1"/>
      <p:bldP spid="53" grpId="2"/>
      <p:bldP spid="54" grpId="0"/>
      <p:bldP spid="54" grpId="1"/>
      <p:bldP spid="54" grpId="2"/>
      <p:bldP spid="56" grpId="0" animBg="1"/>
      <p:bldP spid="57" grpId="0" animBg="1"/>
      <p:bldP spid="59" grpId="0" animBg="1"/>
      <p:bldP spid="60" grpId="0" animBg="1"/>
      <p:bldP spid="62" grpId="0" animBg="1"/>
      <p:bldP spid="6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80497" y="264207"/>
            <a:ext cx="4192254" cy="2758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Requirements’ Gathering</a:t>
            </a:r>
          </a:p>
          <a:p>
            <a:pPr algn="ctr"/>
            <a:r>
              <a:rPr lang="en-IN" dirty="0" smtClean="0"/>
              <a:t>Planning	</a:t>
            </a:r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326738" y="896622"/>
            <a:ext cx="3899771" cy="202832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Raising of User stories in </a:t>
            </a:r>
            <a:r>
              <a:rPr lang="en-IN" sz="1600" b="1" u="sng" dirty="0" smtClean="0"/>
              <a:t>Confluenc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Acceptance Criteria, using </a:t>
            </a:r>
            <a:r>
              <a:rPr lang="en-IN" sz="1600" b="1" u="sng" dirty="0" err="1" smtClean="0"/>
              <a:t>JBehave</a:t>
            </a:r>
            <a:r>
              <a:rPr lang="en-IN" sz="1600" u="sng" dirty="0" smtClean="0"/>
              <a:t> </a:t>
            </a:r>
            <a:r>
              <a:rPr lang="en-IN" sz="1600" dirty="0" smtClean="0"/>
              <a:t>for autom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re planning (if required), re-writing/defining scop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lanning (</a:t>
            </a:r>
            <a:r>
              <a:rPr lang="en-IN" sz="1600" b="1" u="sng" dirty="0" smtClean="0"/>
              <a:t>Planning Poker</a:t>
            </a:r>
            <a:r>
              <a:rPr lang="en-IN" sz="1600" dirty="0" smtClean="0"/>
              <a:t>, points based or capacity based)</a:t>
            </a:r>
          </a:p>
        </p:txBody>
      </p:sp>
      <p:pic>
        <p:nvPicPr>
          <p:cNvPr id="2050" name="Picture 2" descr="jbehav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5112501"/>
            <a:ext cx="3038475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confluen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8480" y="896622"/>
            <a:ext cx="4764088" cy="934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Related imag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5292" y="3314177"/>
            <a:ext cx="2376264" cy="1188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planning poker card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060848"/>
            <a:ext cx="3024000" cy="4270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branding-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0675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Rectangle 3"/>
          <p:cNvSpPr/>
          <p:nvPr/>
        </p:nvSpPr>
        <p:spPr>
          <a:xfrm>
            <a:off x="180497" y="264207"/>
            <a:ext cx="4192254" cy="2758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Requirements’ Gathering</a:t>
            </a:r>
          </a:p>
          <a:p>
            <a:pPr algn="ctr"/>
            <a:r>
              <a:rPr lang="en-IN" dirty="0" smtClean="0"/>
              <a:t>Planning	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326738" y="896622"/>
            <a:ext cx="3899771" cy="202832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Raising of User stories in confluenc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Acceptance Criteria, using </a:t>
            </a:r>
            <a:r>
              <a:rPr lang="en-IN" sz="1600" dirty="0" err="1" smtClean="0"/>
              <a:t>Jbehave</a:t>
            </a:r>
            <a:r>
              <a:rPr lang="en-IN" sz="1600" dirty="0" smtClean="0"/>
              <a:t> for autom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re planning (if required), re-writing/defining scop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lanning (Planning Poker, points based or capacity based)</a:t>
            </a:r>
          </a:p>
        </p:txBody>
      </p:sp>
      <p:sp>
        <p:nvSpPr>
          <p:cNvPr id="6" name="Rectangle 5"/>
          <p:cNvSpPr/>
          <p:nvPr/>
        </p:nvSpPr>
        <p:spPr>
          <a:xfrm>
            <a:off x="4860032" y="346584"/>
            <a:ext cx="4032448" cy="26760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Design </a:t>
            </a:r>
          </a:p>
          <a:p>
            <a:pPr algn="ctr"/>
            <a:r>
              <a:rPr lang="en-IN" dirty="0" smtClean="0"/>
              <a:t>Development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5076057" y="1146407"/>
            <a:ext cx="3641100" cy="17785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Development – Spring Boot, Angular 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ommit - </a:t>
            </a:r>
            <a:r>
              <a:rPr lang="en-IN" dirty="0" err="1" smtClean="0"/>
              <a:t>GITLab</a:t>
            </a:r>
            <a:endParaRPr lang="en-IN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Unit/Integration Test Cas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Build – Maven (Triggered by commits)</a:t>
            </a:r>
            <a:endParaRPr lang="en-IN" dirty="0"/>
          </a:p>
        </p:txBody>
      </p:sp>
      <p:sp>
        <p:nvSpPr>
          <p:cNvPr id="8" name="Rectangle 7"/>
          <p:cNvSpPr/>
          <p:nvPr/>
        </p:nvSpPr>
        <p:spPr>
          <a:xfrm>
            <a:off x="1532564" y="3295824"/>
            <a:ext cx="6003540" cy="3420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PAAS – PCF Release/Track/Monitor</a:t>
            </a:r>
            <a:endParaRPr lang="en-IN" dirty="0"/>
          </a:p>
        </p:txBody>
      </p:sp>
      <p:sp>
        <p:nvSpPr>
          <p:cNvPr id="9" name="Rectangle 8"/>
          <p:cNvSpPr/>
          <p:nvPr/>
        </p:nvSpPr>
        <p:spPr>
          <a:xfrm>
            <a:off x="1952899" y="3799880"/>
            <a:ext cx="5196918" cy="27641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ICD - Deployment till Pre PROD - </a:t>
            </a:r>
            <a:r>
              <a:rPr lang="en-IN" b="1" u="sng" dirty="0" smtClean="0"/>
              <a:t>Jenki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Unit/Integration Test Cas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Sonar</a:t>
            </a:r>
            <a:r>
              <a:rPr lang="en-IN" dirty="0" smtClean="0"/>
              <a:t> Test coverage and Code vulnerabilities, Bug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Fortify </a:t>
            </a:r>
            <a:r>
              <a:rPr lang="en-IN" dirty="0" smtClean="0"/>
              <a:t>Security and Code Vulnerabilitie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lean Up and Deploy (Blue Green deployments with 0 downtime) - </a:t>
            </a:r>
            <a:r>
              <a:rPr lang="en-IN" b="1" u="sng" dirty="0" smtClean="0"/>
              <a:t>PCF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Automation test cases (Sign Off required or no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Performance/Load testing - </a:t>
            </a:r>
            <a:r>
              <a:rPr lang="en-IN" b="1" u="sng" dirty="0" err="1" smtClean="0"/>
              <a:t>jMeter</a:t>
            </a:r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3801017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4860032" y="346584"/>
            <a:ext cx="4032448" cy="26760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Design </a:t>
            </a:r>
          </a:p>
          <a:p>
            <a:pPr algn="ctr"/>
            <a:r>
              <a:rPr lang="en-IN" dirty="0" smtClean="0"/>
              <a:t>Development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5076057" y="1146407"/>
            <a:ext cx="3641100" cy="17785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Development – </a:t>
            </a:r>
            <a:r>
              <a:rPr lang="en-IN" sz="1600" b="1" u="sng" dirty="0" err="1" smtClean="0"/>
              <a:t>SpringBoot</a:t>
            </a:r>
            <a:r>
              <a:rPr lang="en-IN" sz="1600" b="1" u="sng" dirty="0" smtClean="0"/>
              <a:t>, Angular 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Commit - </a:t>
            </a:r>
            <a:r>
              <a:rPr lang="en-IN" sz="1600" b="1" u="sng" dirty="0" err="1" smtClean="0"/>
              <a:t>GITLab</a:t>
            </a:r>
            <a:endParaRPr lang="en-IN" sz="1600" b="1" u="sng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Unit/Integration Test Cases – </a:t>
            </a:r>
            <a:r>
              <a:rPr lang="en-IN" sz="1600" b="1" u="sng" dirty="0" smtClean="0"/>
              <a:t>Karma, </a:t>
            </a:r>
            <a:r>
              <a:rPr lang="en-IN" sz="1600" b="1" u="sng" dirty="0" err="1" smtClean="0"/>
              <a:t>Mockito</a:t>
            </a:r>
            <a:endParaRPr lang="en-IN" sz="1600" b="1" u="sng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Build – </a:t>
            </a:r>
            <a:r>
              <a:rPr lang="en-IN" sz="1600" b="1" u="sng" dirty="0" smtClean="0"/>
              <a:t>Maven</a:t>
            </a:r>
            <a:r>
              <a:rPr lang="en-IN" sz="1600" dirty="0" smtClean="0"/>
              <a:t> (Triggered by commits)</a:t>
            </a:r>
            <a:endParaRPr lang="en-IN" sz="1600" dirty="0"/>
          </a:p>
        </p:txBody>
      </p:sp>
      <p:pic>
        <p:nvPicPr>
          <p:cNvPr id="3074" name="Picture 2" descr="Image result for spring boo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6264" y="5013176"/>
            <a:ext cx="5310893" cy="1520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angula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80728"/>
            <a:ext cx="2847975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2522" y="2924944"/>
            <a:ext cx="2173945" cy="1358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mage result for mave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8" y="4725144"/>
            <a:ext cx="3238500" cy="81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1415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Rectangle 3"/>
          <p:cNvSpPr/>
          <p:nvPr/>
        </p:nvSpPr>
        <p:spPr>
          <a:xfrm>
            <a:off x="180497" y="264207"/>
            <a:ext cx="4192254" cy="2758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Requirements’ Gathering</a:t>
            </a:r>
          </a:p>
          <a:p>
            <a:pPr algn="ctr"/>
            <a:r>
              <a:rPr lang="en-IN" dirty="0" smtClean="0"/>
              <a:t>Planning	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326738" y="896622"/>
            <a:ext cx="3899771" cy="202832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Raising of User stories in confluenc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Acceptance Criteria, using </a:t>
            </a:r>
            <a:r>
              <a:rPr lang="en-IN" sz="1600" dirty="0" err="1" smtClean="0"/>
              <a:t>Jbehave</a:t>
            </a:r>
            <a:r>
              <a:rPr lang="en-IN" sz="1600" dirty="0" smtClean="0"/>
              <a:t> for autom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re planning (if required), re-writing/defining scop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lanning (Planning Poker, points based or capacity based)</a:t>
            </a:r>
          </a:p>
        </p:txBody>
      </p:sp>
      <p:sp>
        <p:nvSpPr>
          <p:cNvPr id="6" name="Rectangle 5"/>
          <p:cNvSpPr/>
          <p:nvPr/>
        </p:nvSpPr>
        <p:spPr>
          <a:xfrm>
            <a:off x="4860032" y="346584"/>
            <a:ext cx="4032448" cy="26760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Design </a:t>
            </a:r>
          </a:p>
          <a:p>
            <a:pPr algn="ctr"/>
            <a:r>
              <a:rPr lang="en-IN" dirty="0" smtClean="0"/>
              <a:t>Development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5076057" y="1146407"/>
            <a:ext cx="3641100" cy="17785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Development – </a:t>
            </a:r>
            <a:r>
              <a:rPr lang="en-IN" sz="1600" b="1" u="sng" dirty="0" err="1">
                <a:solidFill>
                  <a:prstClr val="white"/>
                </a:solidFill>
              </a:rPr>
              <a:t>SpringBoot</a:t>
            </a:r>
            <a:r>
              <a:rPr lang="en-IN" sz="1600" b="1" u="sng" dirty="0">
                <a:solidFill>
                  <a:prstClr val="white"/>
                </a:solidFill>
              </a:rPr>
              <a:t>, Angular 4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Commit - </a:t>
            </a:r>
            <a:r>
              <a:rPr lang="en-IN" sz="1600" b="1" u="sng" dirty="0" err="1">
                <a:solidFill>
                  <a:prstClr val="white"/>
                </a:solidFill>
              </a:rPr>
              <a:t>GITLab</a:t>
            </a:r>
            <a:endParaRPr lang="en-IN" sz="1600" b="1" u="sng" dirty="0">
              <a:solidFill>
                <a:prstClr val="white"/>
              </a:solidFill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Unit/Integration Test Cases – </a:t>
            </a:r>
            <a:r>
              <a:rPr lang="en-IN" sz="1600" b="1" u="sng" dirty="0">
                <a:solidFill>
                  <a:prstClr val="white"/>
                </a:solidFill>
              </a:rPr>
              <a:t>Karma, </a:t>
            </a:r>
            <a:r>
              <a:rPr lang="en-IN" sz="1600" b="1" u="sng" dirty="0" err="1">
                <a:solidFill>
                  <a:prstClr val="white"/>
                </a:solidFill>
              </a:rPr>
              <a:t>Mockito</a:t>
            </a:r>
            <a:endParaRPr lang="en-IN" sz="1600" b="1" u="sng" dirty="0">
              <a:solidFill>
                <a:prstClr val="white"/>
              </a:solidFill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Build – </a:t>
            </a:r>
            <a:r>
              <a:rPr lang="en-IN" sz="1600" b="1" u="sng" dirty="0">
                <a:solidFill>
                  <a:prstClr val="white"/>
                </a:solidFill>
              </a:rPr>
              <a:t>Maven</a:t>
            </a:r>
            <a:r>
              <a:rPr lang="en-IN" sz="1600" dirty="0">
                <a:solidFill>
                  <a:prstClr val="white"/>
                </a:solidFill>
              </a:rPr>
              <a:t> (Triggered by commits)</a:t>
            </a:r>
          </a:p>
        </p:txBody>
      </p:sp>
      <p:sp>
        <p:nvSpPr>
          <p:cNvPr id="8" name="Rectangle 7"/>
          <p:cNvSpPr/>
          <p:nvPr/>
        </p:nvSpPr>
        <p:spPr>
          <a:xfrm>
            <a:off x="1532564" y="3295824"/>
            <a:ext cx="6003540" cy="3420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PAAS – PCF Release/Track/Monitor</a:t>
            </a:r>
            <a:endParaRPr lang="en-IN" dirty="0"/>
          </a:p>
        </p:txBody>
      </p:sp>
      <p:sp>
        <p:nvSpPr>
          <p:cNvPr id="9" name="Rectangle 8"/>
          <p:cNvSpPr/>
          <p:nvPr/>
        </p:nvSpPr>
        <p:spPr>
          <a:xfrm>
            <a:off x="1952899" y="3799880"/>
            <a:ext cx="5196918" cy="27641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ICD - Deployment till Pre PROD - </a:t>
            </a:r>
            <a:r>
              <a:rPr lang="en-IN" b="1" u="sng" dirty="0" smtClean="0"/>
              <a:t>Jenki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Unit/Integration Test Cas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Sonar</a:t>
            </a:r>
            <a:r>
              <a:rPr lang="en-IN" dirty="0" smtClean="0"/>
              <a:t> Test coverage and Code vulnerabilities, Bug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Fortify </a:t>
            </a:r>
            <a:r>
              <a:rPr lang="en-IN" dirty="0" smtClean="0"/>
              <a:t>Security and Code Vulnerabilitie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lean Up and Deploy (Blue Green deployments with 0 downtime) - </a:t>
            </a:r>
            <a:r>
              <a:rPr lang="en-IN" b="1" u="sng" dirty="0" smtClean="0"/>
              <a:t>PCF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Automation test cases (Sign Off required or no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Performance/Load testing - </a:t>
            </a:r>
            <a:r>
              <a:rPr lang="en-IN" b="1" u="sng" dirty="0" err="1" smtClean="0"/>
              <a:t>jMeter</a:t>
            </a:r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288859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1532564" y="3295824"/>
            <a:ext cx="6003540" cy="3420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PAAS – PCF Release/Track/Monitor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952899" y="3799880"/>
            <a:ext cx="5196918" cy="27641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ICD - Deployment till Pre PROD - </a:t>
            </a:r>
            <a:r>
              <a:rPr lang="en-IN" b="1" u="sng" dirty="0" smtClean="0"/>
              <a:t>Jenki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Unit/Integration Test Cas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Sonar</a:t>
            </a:r>
            <a:r>
              <a:rPr lang="en-IN" dirty="0" smtClean="0"/>
              <a:t> Test coverage and Code vulnerabilities, Bug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Fortify </a:t>
            </a:r>
            <a:r>
              <a:rPr lang="en-IN" dirty="0" smtClean="0"/>
              <a:t>Security and Code Vulnerabilitie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lean Up and Deploy (Blue Green deployments with 0 downtime) - </a:t>
            </a:r>
            <a:r>
              <a:rPr lang="en-IN" b="1" u="sng" dirty="0" smtClean="0"/>
              <a:t>PCF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Automation test cases (Sign Off required or no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Performance/Load testing - </a:t>
            </a:r>
            <a:r>
              <a:rPr lang="en-IN" b="1" u="sng" dirty="0" err="1" smtClean="0"/>
              <a:t>jMeter</a:t>
            </a:r>
            <a:endParaRPr lang="en-IN" b="1" u="sng" dirty="0"/>
          </a:p>
        </p:txBody>
      </p:sp>
      <p:pic>
        <p:nvPicPr>
          <p:cNvPr id="4100" name="Picture 4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8405" y="-315416"/>
            <a:ext cx="2736304" cy="273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Image result for jenki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0" y="1412776"/>
            <a:ext cx="2926855" cy="177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Image result for sonarqub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204740"/>
            <a:ext cx="3967218" cy="1042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Image result for hp fortify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1" b="15041"/>
          <a:stretch/>
        </p:blipFill>
        <p:spPr bwMode="auto">
          <a:xfrm>
            <a:off x="6156176" y="429370"/>
            <a:ext cx="2700000" cy="1049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Image result for jMete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51" b="19757"/>
          <a:stretch/>
        </p:blipFill>
        <p:spPr bwMode="auto">
          <a:xfrm>
            <a:off x="98189" y="178230"/>
            <a:ext cx="2908363" cy="1100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61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4283968" y="980728"/>
            <a:ext cx="5364088" cy="4896544"/>
          </a:xfrm>
          <a:prstGeom prst="rect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Rectangle 14"/>
          <p:cNvSpPr/>
          <p:nvPr/>
        </p:nvSpPr>
        <p:spPr>
          <a:xfrm>
            <a:off x="0" y="981952"/>
            <a:ext cx="6120173" cy="4896544"/>
          </a:xfrm>
          <a:prstGeom prst="rect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ounded Rectangle 4"/>
          <p:cNvSpPr/>
          <p:nvPr/>
        </p:nvSpPr>
        <p:spPr>
          <a:xfrm>
            <a:off x="-684584" y="2348880"/>
            <a:ext cx="3240360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Business Analysts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0" y="3068960"/>
            <a:ext cx="3240360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Product Owner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67544" y="3789040"/>
            <a:ext cx="3240360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QA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043608" y="4509120"/>
            <a:ext cx="3240360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Scrum Maste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11560" y="1268760"/>
            <a:ext cx="1476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ONSITE</a:t>
            </a:r>
            <a:endParaRPr lang="en-IN" dirty="0"/>
          </a:p>
        </p:txBody>
      </p:sp>
      <p:sp>
        <p:nvSpPr>
          <p:cNvPr id="10" name="TextBox 9"/>
          <p:cNvSpPr txBox="1"/>
          <p:nvPr/>
        </p:nvSpPr>
        <p:spPr>
          <a:xfrm>
            <a:off x="6372200" y="1278370"/>
            <a:ext cx="1476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OFFSHORE</a:t>
            </a:r>
            <a:endParaRPr lang="en-IN" dirty="0"/>
          </a:p>
        </p:txBody>
      </p:sp>
      <p:sp>
        <p:nvSpPr>
          <p:cNvPr id="11" name="Rounded Rectangle 10"/>
          <p:cNvSpPr/>
          <p:nvPr/>
        </p:nvSpPr>
        <p:spPr>
          <a:xfrm>
            <a:off x="6084168" y="2336300"/>
            <a:ext cx="3563888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Developers</a:t>
            </a:r>
            <a:endParaRPr lang="en-IN" dirty="0"/>
          </a:p>
        </p:txBody>
      </p:sp>
      <p:sp>
        <p:nvSpPr>
          <p:cNvPr id="12" name="Rounded Rectangle 11"/>
          <p:cNvSpPr/>
          <p:nvPr/>
        </p:nvSpPr>
        <p:spPr>
          <a:xfrm>
            <a:off x="5652119" y="3068960"/>
            <a:ext cx="3528393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Production Support</a:t>
            </a:r>
            <a:endParaRPr lang="en-IN" dirty="0"/>
          </a:p>
        </p:txBody>
      </p:sp>
      <p:sp>
        <p:nvSpPr>
          <p:cNvPr id="13" name="Rounded Rectangle 12"/>
          <p:cNvSpPr/>
          <p:nvPr/>
        </p:nvSpPr>
        <p:spPr>
          <a:xfrm>
            <a:off x="4788023" y="3789040"/>
            <a:ext cx="3888433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DBAs</a:t>
            </a:r>
            <a:endParaRPr lang="en-IN" dirty="0"/>
          </a:p>
        </p:txBody>
      </p:sp>
      <p:sp>
        <p:nvSpPr>
          <p:cNvPr id="14" name="Rounded Rectangle 13"/>
          <p:cNvSpPr/>
          <p:nvPr/>
        </p:nvSpPr>
        <p:spPr>
          <a:xfrm>
            <a:off x="4283968" y="4509120"/>
            <a:ext cx="3672408" cy="7200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Deployment Engineers</a:t>
            </a:r>
            <a:endParaRPr lang="en-IN" dirty="0"/>
          </a:p>
        </p:txBody>
      </p:sp>
      <p:sp>
        <p:nvSpPr>
          <p:cNvPr id="17" name="Rectangle 16"/>
          <p:cNvSpPr/>
          <p:nvPr/>
        </p:nvSpPr>
        <p:spPr>
          <a:xfrm>
            <a:off x="0" y="980728"/>
            <a:ext cx="6120172" cy="4896544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Rectangle 17"/>
          <p:cNvSpPr/>
          <p:nvPr/>
        </p:nvSpPr>
        <p:spPr>
          <a:xfrm>
            <a:off x="4283968" y="995999"/>
            <a:ext cx="5364088" cy="4896544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9" name="Picture 7" descr="branding-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2471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5" grpId="0" animBg="1"/>
      <p:bldP spid="5" grpId="0" animBg="1"/>
      <p:bldP spid="6" grpId="0" animBg="1"/>
      <p:bldP spid="7" grpId="0" animBg="1"/>
      <p:bldP spid="8" grpId="0" animBg="1"/>
      <p:bldP spid="11" grpId="0" animBg="1"/>
      <p:bldP spid="12" grpId="0" animBg="1"/>
      <p:bldP spid="13" grpId="0" animBg="1"/>
      <p:bldP spid="14" grpId="0" animBg="1"/>
      <p:bldP spid="17" grpId="0" animBg="1"/>
      <p:bldP spid="1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3" descr="iStock_000003876404Large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-1" y="1262130"/>
            <a:ext cx="9144001" cy="5595870"/>
          </a:xfrm>
          <a:prstGeom prst="rect">
            <a:avLst/>
          </a:prstGeom>
          <a:noFill/>
        </p:spPr>
      </p:pic>
      <p:grpSp>
        <p:nvGrpSpPr>
          <p:cNvPr id="5" name="Group 4"/>
          <p:cNvGrpSpPr/>
          <p:nvPr/>
        </p:nvGrpSpPr>
        <p:grpSpPr>
          <a:xfrm>
            <a:off x="-14658" y="1"/>
            <a:ext cx="9161590" cy="6845121"/>
            <a:chOff x="-15875" y="0"/>
            <a:chExt cx="9921875" cy="6845121"/>
          </a:xfrm>
        </p:grpSpPr>
        <p:sp>
          <p:nvSpPr>
            <p:cNvPr id="6" name="Freeform 30"/>
            <p:cNvSpPr>
              <a:spLocks/>
            </p:cNvSpPr>
            <p:nvPr>
              <p:custDataLst>
                <p:tags r:id="rId1"/>
              </p:custDataLst>
            </p:nvPr>
          </p:nvSpPr>
          <p:spPr bwMode="white">
            <a:xfrm>
              <a:off x="-15875" y="1133296"/>
              <a:ext cx="9921875" cy="5711825"/>
            </a:xfrm>
            <a:custGeom>
              <a:avLst/>
              <a:gdLst/>
              <a:ahLst/>
              <a:cxnLst>
                <a:cxn ang="0">
                  <a:pos x="0" y="3638"/>
                </a:cxn>
                <a:cxn ang="0">
                  <a:pos x="516" y="2658"/>
                </a:cxn>
                <a:cxn ang="0">
                  <a:pos x="1352" y="2063"/>
                </a:cxn>
                <a:cxn ang="0">
                  <a:pos x="3348" y="1519"/>
                </a:cxn>
                <a:cxn ang="0">
                  <a:pos x="4987" y="1078"/>
                </a:cxn>
                <a:cxn ang="0">
                  <a:pos x="5762" y="534"/>
                </a:cxn>
                <a:cxn ang="0">
                  <a:pos x="5762" y="66"/>
                </a:cxn>
                <a:cxn ang="0">
                  <a:pos x="4" y="68"/>
                </a:cxn>
              </a:cxnLst>
              <a:rect l="0" t="0" r="r" b="b"/>
              <a:pathLst>
                <a:path w="5762" h="3638">
                  <a:moveTo>
                    <a:pt x="0" y="3638"/>
                  </a:moveTo>
                  <a:cubicBezTo>
                    <a:pt x="58" y="3452"/>
                    <a:pt x="291" y="2920"/>
                    <a:pt x="516" y="2658"/>
                  </a:cubicBezTo>
                  <a:cubicBezTo>
                    <a:pt x="794" y="2320"/>
                    <a:pt x="1284" y="2093"/>
                    <a:pt x="1352" y="2063"/>
                  </a:cubicBezTo>
                  <a:cubicBezTo>
                    <a:pt x="1942" y="1786"/>
                    <a:pt x="2872" y="1624"/>
                    <a:pt x="3348" y="1519"/>
                  </a:cubicBezTo>
                  <a:cubicBezTo>
                    <a:pt x="3895" y="1390"/>
                    <a:pt x="4592" y="1228"/>
                    <a:pt x="4987" y="1078"/>
                  </a:cubicBezTo>
                  <a:cubicBezTo>
                    <a:pt x="5384" y="933"/>
                    <a:pt x="5632" y="702"/>
                    <a:pt x="5762" y="534"/>
                  </a:cubicBezTo>
                  <a:cubicBezTo>
                    <a:pt x="5762" y="0"/>
                    <a:pt x="5762" y="61"/>
                    <a:pt x="5762" y="66"/>
                  </a:cubicBezTo>
                  <a:cubicBezTo>
                    <a:pt x="4803" y="66"/>
                    <a:pt x="1204" y="68"/>
                    <a:pt x="4" y="68"/>
                  </a:cubicBezTo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0">
                  <a:schemeClr val="tx2">
                    <a:alpha val="90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2700000" scaled="0"/>
              <a:tileRect/>
            </a:gra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anchor="ctr"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/>
            </a:p>
          </p:txBody>
        </p:sp>
        <p:sp>
          <p:nvSpPr>
            <p:cNvPr id="7" name="Rectangle 22"/>
            <p:cNvSpPr>
              <a:spLocks noChangeArrowheads="1"/>
            </p:cNvSpPr>
            <p:nvPr/>
          </p:nvSpPr>
          <p:spPr bwMode="white">
            <a:xfrm>
              <a:off x="0" y="0"/>
              <a:ext cx="9902952" cy="1204844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nl-NL"/>
            </a:p>
          </p:txBody>
        </p:sp>
      </p:grpSp>
      <p:sp>
        <p:nvSpPr>
          <p:cNvPr id="2" name="Rectangle 1"/>
          <p:cNvSpPr/>
          <p:nvPr/>
        </p:nvSpPr>
        <p:spPr>
          <a:xfrm>
            <a:off x="251520" y="1669742"/>
            <a:ext cx="698477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buFont typeface="Arial" pitchFamily="34" charset="0"/>
              <a:buChar char="•"/>
            </a:pP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omation Testing, complete CDCI implementation</a:t>
            </a:r>
          </a:p>
          <a:p>
            <a:pPr marL="571500" indent="-571500">
              <a:buFont typeface="Arial" pitchFamily="34" charset="0"/>
              <a:buChar char="•"/>
            </a:pP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ogle </a:t>
            </a:r>
            <a:r>
              <a:rPr lang="en-IN" sz="3600" dirty="0" err="1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igee</a:t>
            </a:r>
            <a:endParaRPr lang="en-IN" sz="3600" dirty="0" smtClean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71500" indent="-571500">
              <a:buFont typeface="Arial" pitchFamily="34" charset="0"/>
              <a:buChar char="•"/>
            </a:pPr>
            <a:r>
              <a:rPr lang="en-IN" sz="3600" dirty="0" err="1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iaDB</a:t>
            </a: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N" sz="3600" dirty="0" err="1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xScale</a:t>
            </a: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marL="571500" indent="-571500">
              <a:buFont typeface="Arial" pitchFamily="34" charset="0"/>
              <a:buChar char="•"/>
            </a:pP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hentication of DB</a:t>
            </a:r>
          </a:p>
          <a:p>
            <a:endParaRPr lang="en-IN" sz="360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IN" dirty="0" err="1" smtClean="0"/>
              <a:t>RoadMap</a:t>
            </a:r>
            <a:endParaRPr lang="en-IN" dirty="0"/>
          </a:p>
        </p:txBody>
      </p:sp>
      <p:pic>
        <p:nvPicPr>
          <p:cNvPr id="9" name="Picture 7" descr="branding-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29374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6300192" y="6429374"/>
            <a:ext cx="2843808" cy="428626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1406285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veform</Template>
  <TotalTime>227</TotalTime>
  <Words>535</Words>
  <Application>Microsoft Office PowerPoint</Application>
  <PresentationFormat>On-screen Show (4:3)</PresentationFormat>
  <Paragraphs>113</Paragraphs>
  <Slides>10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oadMap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novo</dc:creator>
  <cp:lastModifiedBy>Lenovo</cp:lastModifiedBy>
  <cp:revision>61</cp:revision>
  <dcterms:created xsi:type="dcterms:W3CDTF">2018-02-05T16:47:50Z</dcterms:created>
  <dcterms:modified xsi:type="dcterms:W3CDTF">2018-02-05T20:37:04Z</dcterms:modified>
</cp:coreProperties>
</file>